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  <p:sldMasterId id="2147483821" r:id="rId4"/>
    <p:sldMasterId id="2147483828" r:id="rId5"/>
  </p:sldMasterIdLst>
  <p:notesMasterIdLst>
    <p:notesMasterId r:id="rId41"/>
  </p:notesMasterIdLst>
  <p:sldIdLst>
    <p:sldId id="1624" r:id="rId6"/>
    <p:sldId id="2416" r:id="rId7"/>
    <p:sldId id="4564" r:id="rId8"/>
    <p:sldId id="4613" r:id="rId9"/>
    <p:sldId id="4569" r:id="rId10"/>
    <p:sldId id="4615" r:id="rId11"/>
    <p:sldId id="2423" r:id="rId12"/>
    <p:sldId id="1364" r:id="rId13"/>
    <p:sldId id="1366" r:id="rId14"/>
    <p:sldId id="1367" r:id="rId15"/>
    <p:sldId id="1369" r:id="rId16"/>
    <p:sldId id="1370" r:id="rId17"/>
    <p:sldId id="1372" r:id="rId18"/>
    <p:sldId id="1373" r:id="rId19"/>
    <p:sldId id="1375" r:id="rId20"/>
    <p:sldId id="1376" r:id="rId21"/>
    <p:sldId id="1378" r:id="rId22"/>
    <p:sldId id="1379" r:id="rId23"/>
    <p:sldId id="1381" r:id="rId24"/>
    <p:sldId id="1382" r:id="rId25"/>
    <p:sldId id="1384" r:id="rId26"/>
    <p:sldId id="1385" r:id="rId27"/>
    <p:sldId id="1387" r:id="rId28"/>
    <p:sldId id="1388" r:id="rId29"/>
    <p:sldId id="1390" r:id="rId30"/>
    <p:sldId id="1391" r:id="rId31"/>
    <p:sldId id="1393" r:id="rId32"/>
    <p:sldId id="1394" r:id="rId33"/>
    <p:sldId id="1396" r:id="rId34"/>
    <p:sldId id="4544" r:id="rId35"/>
    <p:sldId id="4545" r:id="rId36"/>
    <p:sldId id="1400" r:id="rId37"/>
    <p:sldId id="1402" r:id="rId38"/>
    <p:sldId id="1403" r:id="rId39"/>
    <p:sldId id="1405" r:id="rId40"/>
  </p:sldIdLst>
  <p:sldSz cx="12192000" cy="6858000"/>
  <p:notesSz cx="6858000" cy="9144000"/>
  <p:custDataLst>
    <p:tags r:id="rId4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00FF00"/>
    <a:srgbClr val="FF9900"/>
    <a:srgbClr val="3333CC"/>
    <a:srgbClr val="D31145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4" autoAdjust="0"/>
    <p:restoredTop sz="95297" autoAdjust="0"/>
  </p:normalViewPr>
  <p:slideViewPr>
    <p:cSldViewPr snapToGrid="0">
      <p:cViewPr varScale="1">
        <p:scale>
          <a:sx n="106" d="100"/>
          <a:sy n="106" d="100"/>
        </p:scale>
        <p:origin x="102" y="108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171</c:v>
                </c:pt>
                <c:pt idx="1">
                  <c:v>510</c:v>
                </c:pt>
                <c:pt idx="2">
                  <c:v>2220</c:v>
                </c:pt>
                <c:pt idx="3">
                  <c:v>2417</c:v>
                </c:pt>
                <c:pt idx="4">
                  <c:v>1873</c:v>
                </c:pt>
                <c:pt idx="5">
                  <c:v>1576</c:v>
                </c:pt>
                <c:pt idx="6">
                  <c:v>1638</c:v>
                </c:pt>
                <c:pt idx="7">
                  <c:v>728</c:v>
                </c:pt>
                <c:pt idx="8">
                  <c:v>385</c:v>
                </c:pt>
                <c:pt idx="9">
                  <c:v>1545</c:v>
                </c:pt>
                <c:pt idx="10">
                  <c:v>1691</c:v>
                </c:pt>
                <c:pt idx="11">
                  <c:v>1265</c:v>
                </c:pt>
                <c:pt idx="12">
                  <c:v>1223</c:v>
                </c:pt>
                <c:pt idx="13">
                  <c:v>1053</c:v>
                </c:pt>
                <c:pt idx="14">
                  <c:v>597</c:v>
                </c:pt>
                <c:pt idx="15">
                  <c:v>257</c:v>
                </c:pt>
                <c:pt idx="16">
                  <c:v>1131</c:v>
                </c:pt>
                <c:pt idx="17">
                  <c:v>1201</c:v>
                </c:pt>
                <c:pt idx="18">
                  <c:v>779</c:v>
                </c:pt>
                <c:pt idx="19">
                  <c:v>678</c:v>
                </c:pt>
                <c:pt idx="20">
                  <c:v>672</c:v>
                </c:pt>
                <c:pt idx="21">
                  <c:v>336</c:v>
                </c:pt>
                <c:pt idx="22">
                  <c:v>197</c:v>
                </c:pt>
                <c:pt idx="23">
                  <c:v>697</c:v>
                </c:pt>
                <c:pt idx="24">
                  <c:v>661</c:v>
                </c:pt>
                <c:pt idx="25">
                  <c:v>539</c:v>
                </c:pt>
                <c:pt idx="26">
                  <c:v>507</c:v>
                </c:pt>
                <c:pt idx="27">
                  <c:v>455</c:v>
                </c:pt>
                <c:pt idx="28">
                  <c:v>222</c:v>
                </c:pt>
                <c:pt idx="29">
                  <c:v>112</c:v>
                </c:pt>
                <c:pt idx="30">
                  <c:v>514</c:v>
                </c:pt>
                <c:pt idx="31">
                  <c:v>480</c:v>
                </c:pt>
                <c:pt idx="32">
                  <c:v>353</c:v>
                </c:pt>
                <c:pt idx="33">
                  <c:v>427</c:v>
                </c:pt>
                <c:pt idx="34">
                  <c:v>321</c:v>
                </c:pt>
                <c:pt idx="35">
                  <c:v>153</c:v>
                </c:pt>
                <c:pt idx="36">
                  <c:v>98</c:v>
                </c:pt>
                <c:pt idx="37">
                  <c:v>296</c:v>
                </c:pt>
                <c:pt idx="38">
                  <c:v>384</c:v>
                </c:pt>
                <c:pt idx="39">
                  <c:v>251</c:v>
                </c:pt>
                <c:pt idx="40">
                  <c:v>190</c:v>
                </c:pt>
                <c:pt idx="41">
                  <c:v>180</c:v>
                </c:pt>
                <c:pt idx="42">
                  <c:v>73</c:v>
                </c:pt>
                <c:pt idx="43">
                  <c:v>41</c:v>
                </c:pt>
                <c:pt idx="44">
                  <c:v>175</c:v>
                </c:pt>
                <c:pt idx="45">
                  <c:v>208</c:v>
                </c:pt>
                <c:pt idx="46">
                  <c:v>129</c:v>
                </c:pt>
                <c:pt idx="47">
                  <c:v>158</c:v>
                </c:pt>
                <c:pt idx="48">
                  <c:v>144</c:v>
                </c:pt>
                <c:pt idx="49">
                  <c:v>63</c:v>
                </c:pt>
                <c:pt idx="50">
                  <c:v>57</c:v>
                </c:pt>
                <c:pt idx="51">
                  <c:v>119</c:v>
                </c:pt>
                <c:pt idx="52">
                  <c:v>112</c:v>
                </c:pt>
                <c:pt idx="53">
                  <c:v>106</c:v>
                </c:pt>
                <c:pt idx="54">
                  <c:v>97</c:v>
                </c:pt>
                <c:pt idx="55">
                  <c:v>132</c:v>
                </c:pt>
                <c:pt idx="56">
                  <c:v>68</c:v>
                </c:pt>
                <c:pt idx="57">
                  <c:v>58</c:v>
                </c:pt>
                <c:pt idx="58">
                  <c:v>152</c:v>
                </c:pt>
                <c:pt idx="59">
                  <c:v>156</c:v>
                </c:pt>
                <c:pt idx="60">
                  <c:v>137</c:v>
                </c:pt>
                <c:pt idx="61">
                  <c:v>167</c:v>
                </c:pt>
                <c:pt idx="62">
                  <c:v>164</c:v>
                </c:pt>
                <c:pt idx="63">
                  <c:v>125</c:v>
                </c:pt>
                <c:pt idx="64">
                  <c:v>108</c:v>
                </c:pt>
                <c:pt idx="65">
                  <c:v>130</c:v>
                </c:pt>
                <c:pt idx="66">
                  <c:v>110</c:v>
                </c:pt>
                <c:pt idx="67">
                  <c:v>280</c:v>
                </c:pt>
                <c:pt idx="68">
                  <c:v>249</c:v>
                </c:pt>
                <c:pt idx="69">
                  <c:v>285</c:v>
                </c:pt>
                <c:pt idx="70">
                  <c:v>157</c:v>
                </c:pt>
                <c:pt idx="71">
                  <c:v>147</c:v>
                </c:pt>
                <c:pt idx="72">
                  <c:v>245</c:v>
                </c:pt>
                <c:pt idx="73">
                  <c:v>322</c:v>
                </c:pt>
                <c:pt idx="74">
                  <c:v>262</c:v>
                </c:pt>
                <c:pt idx="75">
                  <c:v>225</c:v>
                </c:pt>
                <c:pt idx="76">
                  <c:v>241</c:v>
                </c:pt>
                <c:pt idx="77">
                  <c:v>197</c:v>
                </c:pt>
                <c:pt idx="78">
                  <c:v>116</c:v>
                </c:pt>
                <c:pt idx="79">
                  <c:v>219</c:v>
                </c:pt>
                <c:pt idx="80">
                  <c:v>300</c:v>
                </c:pt>
                <c:pt idx="81">
                  <c:v>231</c:v>
                </c:pt>
                <c:pt idx="82">
                  <c:v>196</c:v>
                </c:pt>
                <c:pt idx="83">
                  <c:v>189</c:v>
                </c:pt>
                <c:pt idx="84">
                  <c:v>125</c:v>
                </c:pt>
                <c:pt idx="85">
                  <c:v>80</c:v>
                </c:pt>
                <c:pt idx="86">
                  <c:v>198</c:v>
                </c:pt>
                <c:pt idx="87">
                  <c:v>253</c:v>
                </c:pt>
                <c:pt idx="88">
                  <c:v>192</c:v>
                </c:pt>
                <c:pt idx="89">
                  <c:v>204</c:v>
                </c:pt>
                <c:pt idx="90">
                  <c:v>138</c:v>
                </c:pt>
                <c:pt idx="91">
                  <c:v>115</c:v>
                </c:pt>
                <c:pt idx="92">
                  <c:v>77</c:v>
                </c:pt>
                <c:pt idx="93">
                  <c:v>152</c:v>
                </c:pt>
                <c:pt idx="94">
                  <c:v>238</c:v>
                </c:pt>
                <c:pt idx="95">
                  <c:v>208</c:v>
                </c:pt>
                <c:pt idx="96">
                  <c:v>164</c:v>
                </c:pt>
                <c:pt idx="97">
                  <c:v>174</c:v>
                </c:pt>
                <c:pt idx="98">
                  <c:v>154</c:v>
                </c:pt>
                <c:pt idx="99">
                  <c:v>106</c:v>
                </c:pt>
                <c:pt idx="100">
                  <c:v>169</c:v>
                </c:pt>
                <c:pt idx="101">
                  <c:v>260</c:v>
                </c:pt>
                <c:pt idx="102">
                  <c:v>219</c:v>
                </c:pt>
                <c:pt idx="103">
                  <c:v>190</c:v>
                </c:pt>
                <c:pt idx="104">
                  <c:v>219</c:v>
                </c:pt>
                <c:pt idx="105">
                  <c:v>142</c:v>
                </c:pt>
                <c:pt idx="106">
                  <c:v>77</c:v>
                </c:pt>
                <c:pt idx="107">
                  <c:v>215</c:v>
                </c:pt>
                <c:pt idx="108">
                  <c:v>300</c:v>
                </c:pt>
                <c:pt idx="109">
                  <c:v>208</c:v>
                </c:pt>
                <c:pt idx="110">
                  <c:v>165</c:v>
                </c:pt>
                <c:pt idx="111">
                  <c:v>170</c:v>
                </c:pt>
                <c:pt idx="112">
                  <c:v>133</c:v>
                </c:pt>
                <c:pt idx="113">
                  <c:v>107</c:v>
                </c:pt>
                <c:pt idx="114">
                  <c:v>211</c:v>
                </c:pt>
                <c:pt idx="115">
                  <c:v>248</c:v>
                </c:pt>
                <c:pt idx="116">
                  <c:v>245</c:v>
                </c:pt>
                <c:pt idx="117">
                  <c:v>211</c:v>
                </c:pt>
                <c:pt idx="118">
                  <c:v>182</c:v>
                </c:pt>
                <c:pt idx="119">
                  <c:v>133</c:v>
                </c:pt>
                <c:pt idx="120">
                  <c:v>81</c:v>
                </c:pt>
                <c:pt idx="121">
                  <c:v>241</c:v>
                </c:pt>
                <c:pt idx="122">
                  <c:v>289</c:v>
                </c:pt>
                <c:pt idx="123">
                  <c:v>262</c:v>
                </c:pt>
                <c:pt idx="124">
                  <c:v>305</c:v>
                </c:pt>
                <c:pt idx="125">
                  <c:v>307</c:v>
                </c:pt>
                <c:pt idx="126">
                  <c:v>206</c:v>
                </c:pt>
                <c:pt idx="127">
                  <c:v>140</c:v>
                </c:pt>
                <c:pt idx="128">
                  <c:v>392</c:v>
                </c:pt>
                <c:pt idx="129">
                  <c:v>583</c:v>
                </c:pt>
                <c:pt idx="130">
                  <c:v>380</c:v>
                </c:pt>
                <c:pt idx="131">
                  <c:v>418</c:v>
                </c:pt>
                <c:pt idx="132">
                  <c:v>444</c:v>
                </c:pt>
                <c:pt idx="133">
                  <c:v>250</c:v>
                </c:pt>
                <c:pt idx="134">
                  <c:v>136</c:v>
                </c:pt>
                <c:pt idx="135">
                  <c:v>490</c:v>
                </c:pt>
                <c:pt idx="136">
                  <c:v>554</c:v>
                </c:pt>
                <c:pt idx="137">
                  <c:v>522</c:v>
                </c:pt>
                <c:pt idx="138">
                  <c:v>555</c:v>
                </c:pt>
                <c:pt idx="139">
                  <c:v>441</c:v>
                </c:pt>
                <c:pt idx="140">
                  <c:v>301</c:v>
                </c:pt>
                <c:pt idx="141">
                  <c:v>187</c:v>
                </c:pt>
                <c:pt idx="142">
                  <c:v>480</c:v>
                </c:pt>
                <c:pt idx="143">
                  <c:v>596</c:v>
                </c:pt>
                <c:pt idx="144">
                  <c:v>522</c:v>
                </c:pt>
                <c:pt idx="145">
                  <c:v>484</c:v>
                </c:pt>
                <c:pt idx="146">
                  <c:v>500</c:v>
                </c:pt>
                <c:pt idx="147">
                  <c:v>413</c:v>
                </c:pt>
                <c:pt idx="148">
                  <c:v>249</c:v>
                </c:pt>
                <c:pt idx="149">
                  <c:v>671</c:v>
                </c:pt>
                <c:pt idx="150">
                  <c:v>473</c:v>
                </c:pt>
                <c:pt idx="151">
                  <c:v>733</c:v>
                </c:pt>
                <c:pt idx="152">
                  <c:v>920</c:v>
                </c:pt>
                <c:pt idx="153">
                  <c:v>826</c:v>
                </c:pt>
                <c:pt idx="154">
                  <c:v>552</c:v>
                </c:pt>
                <c:pt idx="155">
                  <c:v>318</c:v>
                </c:pt>
                <c:pt idx="156">
                  <c:v>798</c:v>
                </c:pt>
                <c:pt idx="157">
                  <c:v>1108</c:v>
                </c:pt>
                <c:pt idx="158">
                  <c:v>1047</c:v>
                </c:pt>
                <c:pt idx="159">
                  <c:v>988</c:v>
                </c:pt>
                <c:pt idx="160">
                  <c:v>1017</c:v>
                </c:pt>
                <c:pt idx="161">
                  <c:v>666</c:v>
                </c:pt>
                <c:pt idx="162">
                  <c:v>336</c:v>
                </c:pt>
                <c:pt idx="163">
                  <c:v>1342</c:v>
                </c:pt>
                <c:pt idx="164">
                  <c:v>1507</c:v>
                </c:pt>
                <c:pt idx="165">
                  <c:v>1499</c:v>
                </c:pt>
                <c:pt idx="166">
                  <c:v>1538</c:v>
                </c:pt>
                <c:pt idx="167">
                  <c:v>1781</c:v>
                </c:pt>
                <c:pt idx="168">
                  <c:v>1158</c:v>
                </c:pt>
                <c:pt idx="169">
                  <c:v>794</c:v>
                </c:pt>
                <c:pt idx="170">
                  <c:v>2528</c:v>
                </c:pt>
                <c:pt idx="171">
                  <c:v>3248</c:v>
                </c:pt>
                <c:pt idx="172">
                  <c:v>3276</c:v>
                </c:pt>
                <c:pt idx="173">
                  <c:v>3640</c:v>
                </c:pt>
                <c:pt idx="174">
                  <c:v>4234</c:v>
                </c:pt>
                <c:pt idx="175">
                  <c:v>2756</c:v>
                </c:pt>
                <c:pt idx="176">
                  <c:v>1833</c:v>
                </c:pt>
                <c:pt idx="177">
                  <c:v>4278</c:v>
                </c:pt>
                <c:pt idx="178">
                  <c:v>6284</c:v>
                </c:pt>
                <c:pt idx="179">
                  <c:v>5846</c:v>
                </c:pt>
                <c:pt idx="180">
                  <c:v>4353</c:v>
                </c:pt>
                <c:pt idx="181">
                  <c:v>5739</c:v>
                </c:pt>
                <c:pt idx="182">
                  <c:v>5058</c:v>
                </c:pt>
                <c:pt idx="183">
                  <c:v>2770</c:v>
                </c:pt>
                <c:pt idx="184">
                  <c:v>7602</c:v>
                </c:pt>
                <c:pt idx="185">
                  <c:v>9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153" formatCode="#,##0">
                  <c:v>794</c:v>
                </c:pt>
                <c:pt idx="154" formatCode="#,##0">
                  <c:v>826</c:v>
                </c:pt>
                <c:pt idx="155" formatCode="#,##0">
                  <c:v>858</c:v>
                </c:pt>
                <c:pt idx="156" formatCode="#,##0">
                  <c:v>890</c:v>
                </c:pt>
                <c:pt idx="157" formatCode="#,##0">
                  <c:v>922</c:v>
                </c:pt>
                <c:pt idx="158" formatCode="#,##0">
                  <c:v>957</c:v>
                </c:pt>
                <c:pt idx="159" formatCode="#,##0">
                  <c:v>993</c:v>
                </c:pt>
                <c:pt idx="160" formatCode="#,##0">
                  <c:v>1032</c:v>
                </c:pt>
                <c:pt idx="161" formatCode="#,##0">
                  <c:v>1070</c:v>
                </c:pt>
                <c:pt idx="162" formatCode="#,##0">
                  <c:v>1110</c:v>
                </c:pt>
                <c:pt idx="163" formatCode="#,##0">
                  <c:v>1150</c:v>
                </c:pt>
                <c:pt idx="164" formatCode="#,##0">
                  <c:v>1193</c:v>
                </c:pt>
                <c:pt idx="165" formatCode="#,##0">
                  <c:v>1237</c:v>
                </c:pt>
                <c:pt idx="166" formatCode="#,##0">
                  <c:v>1283</c:v>
                </c:pt>
                <c:pt idx="167" formatCode="#,##0">
                  <c:v>1330</c:v>
                </c:pt>
                <c:pt idx="168" formatCode="#,##0">
                  <c:v>1378</c:v>
                </c:pt>
                <c:pt idx="169" formatCode="#,##0">
                  <c:v>1429</c:v>
                </c:pt>
                <c:pt idx="170" formatCode="#,##0">
                  <c:v>1481</c:v>
                </c:pt>
                <c:pt idx="171" formatCode="#,##0">
                  <c:v>1535</c:v>
                </c:pt>
                <c:pt idx="172" formatCode="#,##0">
                  <c:v>1590</c:v>
                </c:pt>
                <c:pt idx="173" formatCode="#,##0">
                  <c:v>1647</c:v>
                </c:pt>
                <c:pt idx="174" formatCode="#,##0">
                  <c:v>1707</c:v>
                </c:pt>
                <c:pt idx="175" formatCode="#,##0">
                  <c:v>1768</c:v>
                </c:pt>
                <c:pt idx="176" formatCode="#,##0">
                  <c:v>1832</c:v>
                </c:pt>
                <c:pt idx="177" formatCode="#,##0">
                  <c:v>1897</c:v>
                </c:pt>
                <c:pt idx="178" formatCode="#,##0">
                  <c:v>1965</c:v>
                </c:pt>
                <c:pt idx="179" formatCode="#,##0">
                  <c:v>2036</c:v>
                </c:pt>
                <c:pt idx="180" formatCode="#,##0">
                  <c:v>2108</c:v>
                </c:pt>
                <c:pt idx="181" formatCode="#,##0">
                  <c:v>2183</c:v>
                </c:pt>
                <c:pt idx="182" formatCode="#,##0">
                  <c:v>2261</c:v>
                </c:pt>
                <c:pt idx="183" formatCode="#,##0">
                  <c:v>2341</c:v>
                </c:pt>
                <c:pt idx="184" formatCode="#,##0">
                  <c:v>2424</c:v>
                </c:pt>
                <c:pt idx="185" formatCode="#,##0">
                  <c:v>2509</c:v>
                </c:pt>
                <c:pt idx="186" formatCode="#,##0">
                  <c:v>2598</c:v>
                </c:pt>
                <c:pt idx="187" formatCode="#,##0">
                  <c:v>2690</c:v>
                </c:pt>
                <c:pt idx="188" formatCode="#,##0">
                  <c:v>2784</c:v>
                </c:pt>
                <c:pt idx="189" formatCode="#,##0">
                  <c:v>2882</c:v>
                </c:pt>
                <c:pt idx="190" formatCode="#,##0">
                  <c:v>2983</c:v>
                </c:pt>
                <c:pt idx="191" formatCode="#,##0">
                  <c:v>3088</c:v>
                </c:pt>
                <c:pt idx="192" formatCode="#,##0">
                  <c:v>3196</c:v>
                </c:pt>
                <c:pt idx="193" formatCode="#,##0">
                  <c:v>3308</c:v>
                </c:pt>
                <c:pt idx="194" formatCode="#,##0">
                  <c:v>3423</c:v>
                </c:pt>
                <c:pt idx="195" formatCode="#,##0">
                  <c:v>3543</c:v>
                </c:pt>
                <c:pt idx="196" formatCode="#,##0">
                  <c:v>3667</c:v>
                </c:pt>
                <c:pt idx="197" formatCode="#,##0">
                  <c:v>37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 formatCode="#,##0">
                  <c:v>824</c:v>
                </c:pt>
                <c:pt idx="154" formatCode="#,##0">
                  <c:v>873</c:v>
                </c:pt>
                <c:pt idx="155" formatCode="#,##0">
                  <c:v>917</c:v>
                </c:pt>
                <c:pt idx="156" formatCode="#,##0">
                  <c:v>955</c:v>
                </c:pt>
                <c:pt idx="157" formatCode="#,##0">
                  <c:v>1003</c:v>
                </c:pt>
                <c:pt idx="158" formatCode="#,##0">
                  <c:v>1057</c:v>
                </c:pt>
                <c:pt idx="159" formatCode="#,##0">
                  <c:v>1117</c:v>
                </c:pt>
                <c:pt idx="160" formatCode="#,##0">
                  <c:v>1180</c:v>
                </c:pt>
                <c:pt idx="161" formatCode="#,##0">
                  <c:v>1240</c:v>
                </c:pt>
                <c:pt idx="162" formatCode="#,##0">
                  <c:v>1300</c:v>
                </c:pt>
                <c:pt idx="163" formatCode="#,##0">
                  <c:v>1365</c:v>
                </c:pt>
                <c:pt idx="164" formatCode="#,##0">
                  <c:v>1438</c:v>
                </c:pt>
                <c:pt idx="165" formatCode="#,##0">
                  <c:v>1515</c:v>
                </c:pt>
                <c:pt idx="166" formatCode="#,##0">
                  <c:v>1593</c:v>
                </c:pt>
                <c:pt idx="167" formatCode="#,##0">
                  <c:v>1674</c:v>
                </c:pt>
                <c:pt idx="168" formatCode="#,##0">
                  <c:v>1757</c:v>
                </c:pt>
                <c:pt idx="169" formatCode="#,##0">
                  <c:v>1847</c:v>
                </c:pt>
                <c:pt idx="170" formatCode="#,##0">
                  <c:v>1943</c:v>
                </c:pt>
                <c:pt idx="171" formatCode="#,##0">
                  <c:v>2043</c:v>
                </c:pt>
                <c:pt idx="172" formatCode="#,##0">
                  <c:v>2147</c:v>
                </c:pt>
                <c:pt idx="173" formatCode="#,##0">
                  <c:v>2255</c:v>
                </c:pt>
                <c:pt idx="174" formatCode="#,##0">
                  <c:v>2369</c:v>
                </c:pt>
                <c:pt idx="175" formatCode="#,##0">
                  <c:v>2489</c:v>
                </c:pt>
                <c:pt idx="176" formatCode="#,##0">
                  <c:v>2615</c:v>
                </c:pt>
                <c:pt idx="177" formatCode="#,##0">
                  <c:v>2748</c:v>
                </c:pt>
                <c:pt idx="178" formatCode="#,##0">
                  <c:v>2887</c:v>
                </c:pt>
                <c:pt idx="179" formatCode="#,##0">
                  <c:v>3031</c:v>
                </c:pt>
                <c:pt idx="180" formatCode="#,##0">
                  <c:v>3184</c:v>
                </c:pt>
                <c:pt idx="181" formatCode="#,##0">
                  <c:v>3343</c:v>
                </c:pt>
                <c:pt idx="182" formatCode="#,##0">
                  <c:v>3512</c:v>
                </c:pt>
                <c:pt idx="183" formatCode="#,##0">
                  <c:v>3688</c:v>
                </c:pt>
                <c:pt idx="184" formatCode="#,##0">
                  <c:v>3873</c:v>
                </c:pt>
                <c:pt idx="185" formatCode="#,##0">
                  <c:v>4066</c:v>
                </c:pt>
                <c:pt idx="186" formatCode="#,##0">
                  <c:v>4269</c:v>
                </c:pt>
                <c:pt idx="187" formatCode="#,##0">
                  <c:v>4483</c:v>
                </c:pt>
                <c:pt idx="188" formatCode="#,##0">
                  <c:v>4706</c:v>
                </c:pt>
                <c:pt idx="189" formatCode="#,##0">
                  <c:v>4941</c:v>
                </c:pt>
                <c:pt idx="190" formatCode="#,##0">
                  <c:v>5188</c:v>
                </c:pt>
                <c:pt idx="191" formatCode="#,##0">
                  <c:v>5446</c:v>
                </c:pt>
                <c:pt idx="192" formatCode="#,##0">
                  <c:v>5717</c:v>
                </c:pt>
                <c:pt idx="193" formatCode="#,##0">
                  <c:v>6001</c:v>
                </c:pt>
                <c:pt idx="194" formatCode="#,##0">
                  <c:v>6300</c:v>
                </c:pt>
                <c:pt idx="195" formatCode="#,##0">
                  <c:v>6613</c:v>
                </c:pt>
                <c:pt idx="196" formatCode="#,##0">
                  <c:v>6941</c:v>
                </c:pt>
                <c:pt idx="197" formatCode="#,##0">
                  <c:v>7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713</c:v>
                </c:pt>
                <c:pt idx="165" formatCode="#,##0">
                  <c:v>1830</c:v>
                </c:pt>
                <c:pt idx="166" formatCode="#,##0">
                  <c:v>1951</c:v>
                </c:pt>
                <c:pt idx="167" formatCode="#,##0">
                  <c:v>2075</c:v>
                </c:pt>
                <c:pt idx="168" formatCode="#,##0">
                  <c:v>2206</c:v>
                </c:pt>
                <c:pt idx="169" formatCode="#,##0">
                  <c:v>2349</c:v>
                </c:pt>
                <c:pt idx="170" formatCode="#,##0">
                  <c:v>2505</c:v>
                </c:pt>
                <c:pt idx="171" formatCode="#,##0">
                  <c:v>2671</c:v>
                </c:pt>
                <c:pt idx="172" formatCode="#,##0">
                  <c:v>2844</c:v>
                </c:pt>
                <c:pt idx="173" formatCode="#,##0">
                  <c:v>3025</c:v>
                </c:pt>
                <c:pt idx="174" formatCode="#,##0">
                  <c:v>3219</c:v>
                </c:pt>
                <c:pt idx="175" formatCode="#,##0">
                  <c:v>3427</c:v>
                </c:pt>
                <c:pt idx="176" formatCode="#,##0">
                  <c:v>3651</c:v>
                </c:pt>
                <c:pt idx="177" formatCode="#,##0">
                  <c:v>3887</c:v>
                </c:pt>
                <c:pt idx="178" formatCode="#,##0">
                  <c:v>4137</c:v>
                </c:pt>
                <c:pt idx="179" formatCode="#,##0">
                  <c:v>4402</c:v>
                </c:pt>
                <c:pt idx="180" formatCode="#,##0">
                  <c:v>4685</c:v>
                </c:pt>
                <c:pt idx="181" formatCode="#,##0">
                  <c:v>4986</c:v>
                </c:pt>
                <c:pt idx="182" formatCode="#,##0">
                  <c:v>5308</c:v>
                </c:pt>
                <c:pt idx="183" formatCode="#,##0">
                  <c:v>5648</c:v>
                </c:pt>
                <c:pt idx="184" formatCode="#,##0">
                  <c:v>6011</c:v>
                </c:pt>
                <c:pt idx="185" formatCode="#,##0">
                  <c:v>6395</c:v>
                </c:pt>
                <c:pt idx="186" formatCode="#,##0">
                  <c:v>6804</c:v>
                </c:pt>
                <c:pt idx="187" formatCode="#,##0">
                  <c:v>7241</c:v>
                </c:pt>
                <c:pt idx="188" formatCode="#,##0">
                  <c:v>7705</c:v>
                </c:pt>
                <c:pt idx="189" formatCode="#,##0">
                  <c:v>8198</c:v>
                </c:pt>
                <c:pt idx="190" formatCode="#,##0">
                  <c:v>8722</c:v>
                </c:pt>
                <c:pt idx="191" formatCode="#,##0">
                  <c:v>9279</c:v>
                </c:pt>
                <c:pt idx="192" formatCode="#,##0">
                  <c:v>9872</c:v>
                </c:pt>
                <c:pt idx="193" formatCode="#,##0">
                  <c:v>10503</c:v>
                </c:pt>
                <c:pt idx="194" formatCode="#,##0">
                  <c:v>11174</c:v>
                </c:pt>
                <c:pt idx="195" formatCode="#,##0">
                  <c:v>11888</c:v>
                </c:pt>
                <c:pt idx="196" formatCode="#,##0">
                  <c:v>12646</c:v>
                </c:pt>
                <c:pt idx="197" formatCode="#,##0">
                  <c:v>1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5B-44FD-BABB-7344EE2BF8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826</c:v>
                </c:pt>
                <c:pt idx="165" formatCode="#,##0">
                  <c:v>2015</c:v>
                </c:pt>
                <c:pt idx="166" formatCode="#,##0">
                  <c:v>2185</c:v>
                </c:pt>
                <c:pt idx="167" formatCode="#,##0">
                  <c:v>2344</c:v>
                </c:pt>
                <c:pt idx="168" formatCode="#,##0">
                  <c:v>2549</c:v>
                </c:pt>
                <c:pt idx="169" formatCode="#,##0">
                  <c:v>2793</c:v>
                </c:pt>
                <c:pt idx="170" formatCode="#,##0">
                  <c:v>3068</c:v>
                </c:pt>
                <c:pt idx="171" formatCode="#,##0">
                  <c:v>3367</c:v>
                </c:pt>
                <c:pt idx="172" formatCode="#,##0">
                  <c:v>3658</c:v>
                </c:pt>
                <c:pt idx="173" formatCode="#,##0">
                  <c:v>3970</c:v>
                </c:pt>
                <c:pt idx="174" formatCode="#,##0">
                  <c:v>4323</c:v>
                </c:pt>
                <c:pt idx="175" formatCode="#,##0">
                  <c:v>4733</c:v>
                </c:pt>
                <c:pt idx="176" formatCode="#,##0">
                  <c:v>5176</c:v>
                </c:pt>
                <c:pt idx="177" formatCode="#,##0">
                  <c:v>5646</c:v>
                </c:pt>
                <c:pt idx="178" formatCode="#,##0">
                  <c:v>6148</c:v>
                </c:pt>
                <c:pt idx="179" formatCode="#,##0">
                  <c:v>6694</c:v>
                </c:pt>
                <c:pt idx="180" formatCode="#,##0">
                  <c:v>7302</c:v>
                </c:pt>
                <c:pt idx="181" formatCode="#,##0">
                  <c:v>7972</c:v>
                </c:pt>
                <c:pt idx="182" formatCode="#,##0">
                  <c:v>8702</c:v>
                </c:pt>
                <c:pt idx="183" formatCode="#,##0">
                  <c:v>9488</c:v>
                </c:pt>
                <c:pt idx="184" formatCode="#,##0">
                  <c:v>10338</c:v>
                </c:pt>
                <c:pt idx="185" formatCode="#,##0">
                  <c:v>10600</c:v>
                </c:pt>
                <c:pt idx="186" formatCode="#,##0">
                  <c:v>11177</c:v>
                </c:pt>
                <c:pt idx="187" formatCode="#,##0">
                  <c:v>11974</c:v>
                </c:pt>
                <c:pt idx="188" formatCode="#,##0">
                  <c:v>12934</c:v>
                </c:pt>
                <c:pt idx="189" formatCode="#,##0">
                  <c:v>13795</c:v>
                </c:pt>
                <c:pt idx="190" formatCode="#,##0">
                  <c:v>14627</c:v>
                </c:pt>
                <c:pt idx="191" formatCode="#,##0">
                  <c:v>15479</c:v>
                </c:pt>
                <c:pt idx="192" formatCode="#,##0">
                  <c:v>16376</c:v>
                </c:pt>
                <c:pt idx="193" formatCode="#,##0">
                  <c:v>17488</c:v>
                </c:pt>
                <c:pt idx="194" formatCode="#,##0">
                  <c:v>18692</c:v>
                </c:pt>
                <c:pt idx="195" formatCode="#,##0">
                  <c:v>19917</c:v>
                </c:pt>
                <c:pt idx="196" formatCode="#,##0">
                  <c:v>21120</c:v>
                </c:pt>
                <c:pt idx="197" formatCode="#,##0">
                  <c:v>22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0A-4FB6-B884-CAA887A0F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56-44D5-9D37-C4836F1D4B2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4.702178021490894</c:v>
                </c:pt>
                <c:pt idx="1">
                  <c:v>24.025406020902103</c:v>
                </c:pt>
                <c:pt idx="2">
                  <c:v>24.025406020902103</c:v>
                </c:pt>
                <c:pt idx="3">
                  <c:v>24.871371021638094</c:v>
                </c:pt>
                <c:pt idx="4">
                  <c:v>24.025406020902103</c:v>
                </c:pt>
                <c:pt idx="5">
                  <c:v>24.871371021638094</c:v>
                </c:pt>
                <c:pt idx="6">
                  <c:v>24.025406020902103</c:v>
                </c:pt>
                <c:pt idx="7">
                  <c:v>21.656704018841335</c:v>
                </c:pt>
                <c:pt idx="8">
                  <c:v>22.502669019577322</c:v>
                </c:pt>
                <c:pt idx="9">
                  <c:v>20.13396701751655</c:v>
                </c:pt>
                <c:pt idx="10">
                  <c:v>18.272844015897377</c:v>
                </c:pt>
                <c:pt idx="11">
                  <c:v>17.596072015308582</c:v>
                </c:pt>
                <c:pt idx="12">
                  <c:v>16.580914014425396</c:v>
                </c:pt>
                <c:pt idx="13">
                  <c:v>14.55059801265902</c:v>
                </c:pt>
                <c:pt idx="14">
                  <c:v>13.197054011481436</c:v>
                </c:pt>
                <c:pt idx="15">
                  <c:v>10.320773008979073</c:v>
                </c:pt>
                <c:pt idx="16">
                  <c:v>9.4748080082430839</c:v>
                </c:pt>
                <c:pt idx="17">
                  <c:v>8.1212640070655002</c:v>
                </c:pt>
                <c:pt idx="18">
                  <c:v>8.290457007212698</c:v>
                </c:pt>
                <c:pt idx="19">
                  <c:v>8.290457007212698</c:v>
                </c:pt>
                <c:pt idx="20">
                  <c:v>7.7828780067711039</c:v>
                </c:pt>
                <c:pt idx="21">
                  <c:v>5.2449830045631352</c:v>
                </c:pt>
                <c:pt idx="22">
                  <c:v>4.9065970042687397</c:v>
                </c:pt>
                <c:pt idx="23">
                  <c:v>4.2298250036799478</c:v>
                </c:pt>
                <c:pt idx="24">
                  <c:v>3.2146670027967605</c:v>
                </c:pt>
                <c:pt idx="25">
                  <c:v>3.0454740026495624</c:v>
                </c:pt>
                <c:pt idx="26">
                  <c:v>3.2146670027967605</c:v>
                </c:pt>
                <c:pt idx="27">
                  <c:v>2.7070880023551669</c:v>
                </c:pt>
                <c:pt idx="28">
                  <c:v>5.2449830045631352</c:v>
                </c:pt>
                <c:pt idx="29">
                  <c:v>6.7677200058879166</c:v>
                </c:pt>
                <c:pt idx="30">
                  <c:v>9.1364220079486884</c:v>
                </c:pt>
                <c:pt idx="31">
                  <c:v>12.181896010598249</c:v>
                </c:pt>
                <c:pt idx="32">
                  <c:v>13.197054011481436</c:v>
                </c:pt>
                <c:pt idx="33">
                  <c:v>13.704633011923031</c:v>
                </c:pt>
                <c:pt idx="34">
                  <c:v>16.411721014278196</c:v>
                </c:pt>
                <c:pt idx="35">
                  <c:v>15.058177013100615</c:v>
                </c:pt>
                <c:pt idx="36">
                  <c:v>19.457195016927759</c:v>
                </c:pt>
                <c:pt idx="37">
                  <c:v>21.487511018694132</c:v>
                </c:pt>
                <c:pt idx="38">
                  <c:v>25.04056402178529</c:v>
                </c:pt>
                <c:pt idx="39">
                  <c:v>27.409266023846062</c:v>
                </c:pt>
                <c:pt idx="40">
                  <c:v>29.94716102605403</c:v>
                </c:pt>
                <c:pt idx="41">
                  <c:v>32.992635028703596</c:v>
                </c:pt>
                <c:pt idx="42">
                  <c:v>37.560846032677937</c:v>
                </c:pt>
                <c:pt idx="43">
                  <c:v>37.053267032236342</c:v>
                </c:pt>
                <c:pt idx="44">
                  <c:v>37.222460032383538</c:v>
                </c:pt>
                <c:pt idx="45">
                  <c:v>34.007793029586779</c:v>
                </c:pt>
                <c:pt idx="46">
                  <c:v>36.207302031500348</c:v>
                </c:pt>
                <c:pt idx="47">
                  <c:v>35.022951030469969</c:v>
                </c:pt>
                <c:pt idx="48">
                  <c:v>34.007793029586779</c:v>
                </c:pt>
                <c:pt idx="49">
                  <c:v>34.007793029586779</c:v>
                </c:pt>
                <c:pt idx="50">
                  <c:v>35.192144030617165</c:v>
                </c:pt>
                <c:pt idx="51">
                  <c:v>32.992635028703596</c:v>
                </c:pt>
                <c:pt idx="52">
                  <c:v>34.176986029733975</c:v>
                </c:pt>
                <c:pt idx="53">
                  <c:v>30.285547026348429</c:v>
                </c:pt>
                <c:pt idx="54">
                  <c:v>28.932003025170843</c:v>
                </c:pt>
                <c:pt idx="55">
                  <c:v>27.747652024140457</c:v>
                </c:pt>
                <c:pt idx="56">
                  <c:v>27.747652024140457</c:v>
                </c:pt>
                <c:pt idx="57">
                  <c:v>26.732494023257271</c:v>
                </c:pt>
                <c:pt idx="58">
                  <c:v>29.608775025759634</c:v>
                </c:pt>
                <c:pt idx="59">
                  <c:v>29.101196025318039</c:v>
                </c:pt>
                <c:pt idx="60">
                  <c:v>28.932003025170843</c:v>
                </c:pt>
                <c:pt idx="61">
                  <c:v>29.777968025906834</c:v>
                </c:pt>
                <c:pt idx="62">
                  <c:v>28.762810025023644</c:v>
                </c:pt>
                <c:pt idx="63">
                  <c:v>26.732494023257271</c:v>
                </c:pt>
                <c:pt idx="64">
                  <c:v>22.841055019871717</c:v>
                </c:pt>
                <c:pt idx="65">
                  <c:v>19.28800201678056</c:v>
                </c:pt>
                <c:pt idx="66">
                  <c:v>16.750107014572592</c:v>
                </c:pt>
                <c:pt idx="67">
                  <c:v>15.904142013836603</c:v>
                </c:pt>
                <c:pt idx="68">
                  <c:v>14.55059801265902</c:v>
                </c:pt>
                <c:pt idx="69">
                  <c:v>13.197054011481436</c:v>
                </c:pt>
                <c:pt idx="70">
                  <c:v>11.335931009862259</c:v>
                </c:pt>
                <c:pt idx="71">
                  <c:v>10.48996600912627</c:v>
                </c:pt>
                <c:pt idx="72">
                  <c:v>10.48996600912627</c:v>
                </c:pt>
                <c:pt idx="73">
                  <c:v>10.828352009420668</c:v>
                </c:pt>
                <c:pt idx="74">
                  <c:v>10.997545009567864</c:v>
                </c:pt>
                <c:pt idx="75">
                  <c:v>11.335931009862259</c:v>
                </c:pt>
                <c:pt idx="76">
                  <c:v>12.181896010598249</c:v>
                </c:pt>
                <c:pt idx="77">
                  <c:v>12.520282010892645</c:v>
                </c:pt>
                <c:pt idx="78">
                  <c:v>11.843510010303854</c:v>
                </c:pt>
                <c:pt idx="79">
                  <c:v>10.828352009420668</c:v>
                </c:pt>
                <c:pt idx="80">
                  <c:v>9.1364220079486884</c:v>
                </c:pt>
                <c:pt idx="81">
                  <c:v>8.6288430075070934</c:v>
                </c:pt>
                <c:pt idx="82">
                  <c:v>8.4596500073598957</c:v>
                </c:pt>
                <c:pt idx="83">
                  <c:v>6.9369130060351143</c:v>
                </c:pt>
                <c:pt idx="84">
                  <c:v>5.921755005151927</c:v>
                </c:pt>
                <c:pt idx="85">
                  <c:v>6.5985270057407179</c:v>
                </c:pt>
                <c:pt idx="86">
                  <c:v>6.7677200058879166</c:v>
                </c:pt>
                <c:pt idx="87">
                  <c:v>7.4444920064767084</c:v>
                </c:pt>
                <c:pt idx="88">
                  <c:v>8.290457007212698</c:v>
                </c:pt>
                <c:pt idx="89">
                  <c:v>8.1212640070655002</c:v>
                </c:pt>
                <c:pt idx="90">
                  <c:v>8.4596500073598957</c:v>
                </c:pt>
                <c:pt idx="91">
                  <c:v>9.4748080082430839</c:v>
                </c:pt>
                <c:pt idx="92">
                  <c:v>10.659159009273468</c:v>
                </c:pt>
                <c:pt idx="93">
                  <c:v>11.505124010009459</c:v>
                </c:pt>
                <c:pt idx="94">
                  <c:v>11.843510010303854</c:v>
                </c:pt>
                <c:pt idx="95">
                  <c:v>10.48996600912627</c:v>
                </c:pt>
                <c:pt idx="96">
                  <c:v>11.335931009862259</c:v>
                </c:pt>
                <c:pt idx="97">
                  <c:v>11.843510010303854</c:v>
                </c:pt>
                <c:pt idx="98">
                  <c:v>12.858668011187042</c:v>
                </c:pt>
                <c:pt idx="99">
                  <c:v>13.02786101133424</c:v>
                </c:pt>
                <c:pt idx="100">
                  <c:v>13.197054011481436</c:v>
                </c:pt>
                <c:pt idx="101">
                  <c:v>14.719791012806217</c:v>
                </c:pt>
                <c:pt idx="102">
                  <c:v>16.242528014131</c:v>
                </c:pt>
                <c:pt idx="103">
                  <c:v>15.734949013689405</c:v>
                </c:pt>
                <c:pt idx="104">
                  <c:v>18.442037016044573</c:v>
                </c:pt>
                <c:pt idx="105">
                  <c:v>21.14912501839974</c:v>
                </c:pt>
                <c:pt idx="106">
                  <c:v>23.010248020018917</c:v>
                </c:pt>
                <c:pt idx="107">
                  <c:v>28.255231024582052</c:v>
                </c:pt>
                <c:pt idx="108">
                  <c:v>27.409266023846062</c:v>
                </c:pt>
                <c:pt idx="109">
                  <c:v>27.070880023551666</c:v>
                </c:pt>
                <c:pt idx="110">
                  <c:v>27.747652024140457</c:v>
                </c:pt>
                <c:pt idx="111">
                  <c:v>28.255231024582052</c:v>
                </c:pt>
                <c:pt idx="112">
                  <c:v>26.394108022962872</c:v>
                </c:pt>
                <c:pt idx="113">
                  <c:v>25.548143022226885</c:v>
                </c:pt>
                <c:pt idx="114">
                  <c:v>21.656704018841335</c:v>
                </c:pt>
                <c:pt idx="115">
                  <c:v>22.671862019724518</c:v>
                </c:pt>
                <c:pt idx="116">
                  <c:v>24.194599021049299</c:v>
                </c:pt>
                <c:pt idx="117">
                  <c:v>25.548143022226885</c:v>
                </c:pt>
                <c:pt idx="118">
                  <c:v>25.548143022226885</c:v>
                </c:pt>
                <c:pt idx="119">
                  <c:v>24.871371021638094</c:v>
                </c:pt>
                <c:pt idx="120">
                  <c:v>27.578459023993261</c:v>
                </c:pt>
                <c:pt idx="121">
                  <c:v>31.131512027084415</c:v>
                </c:pt>
                <c:pt idx="122">
                  <c:v>36.376495031647551</c:v>
                </c:pt>
                <c:pt idx="123">
                  <c:v>37.391653032530741</c:v>
                </c:pt>
                <c:pt idx="124">
                  <c:v>36.545688031794754</c:v>
                </c:pt>
                <c:pt idx="125">
                  <c:v>41.28309203591629</c:v>
                </c:pt>
                <c:pt idx="126">
                  <c:v>46.358882040332226</c:v>
                </c:pt>
                <c:pt idx="127">
                  <c:v>47.374040041215416</c:v>
                </c:pt>
                <c:pt idx="128">
                  <c:v>47.881619041657004</c:v>
                </c:pt>
                <c:pt idx="129">
                  <c:v>47.20484704106822</c:v>
                </c:pt>
                <c:pt idx="130">
                  <c:v>50.588707044012175</c:v>
                </c:pt>
                <c:pt idx="131">
                  <c:v>50.08112804357058</c:v>
                </c:pt>
                <c:pt idx="132">
                  <c:v>54.649339047544927</c:v>
                </c:pt>
                <c:pt idx="133">
                  <c:v>63.954954055640812</c:v>
                </c:pt>
                <c:pt idx="134">
                  <c:v>72.583797063147912</c:v>
                </c:pt>
                <c:pt idx="135">
                  <c:v>83.581342072715771</c:v>
                </c:pt>
                <c:pt idx="136">
                  <c:v>95.932431083461225</c:v>
                </c:pt>
                <c:pt idx="137">
                  <c:v>99.823870086846767</c:v>
                </c:pt>
                <c:pt idx="138">
                  <c:v>104.89966009126272</c:v>
                </c:pt>
                <c:pt idx="139">
                  <c:v>112.68253809803382</c:v>
                </c:pt>
                <c:pt idx="140">
                  <c:v>131.63215411451998</c:v>
                </c:pt>
                <c:pt idx="141">
                  <c:v>149.22822612982856</c:v>
                </c:pt>
                <c:pt idx="142">
                  <c:v>173.08443915058345</c:v>
                </c:pt>
                <c:pt idx="143">
                  <c:v>192.88002016780561</c:v>
                </c:pt>
                <c:pt idx="144">
                  <c:v>201.67805617545991</c:v>
                </c:pt>
                <c:pt idx="145">
                  <c:v>212.67560118502777</c:v>
                </c:pt>
                <c:pt idx="146">
                  <c:v>236.36262120563549</c:v>
                </c:pt>
                <c:pt idx="147">
                  <c:v>258.86529022521279</c:v>
                </c:pt>
                <c:pt idx="148">
                  <c:v>282.3831172456733</c:v>
                </c:pt>
                <c:pt idx="149">
                  <c:v>286.95132824964764</c:v>
                </c:pt>
                <c:pt idx="150">
                  <c:v>306.57771626672263</c:v>
                </c:pt>
                <c:pt idx="151">
                  <c:v>336.69407029292381</c:v>
                </c:pt>
                <c:pt idx="152">
                  <c:v>342.27743929778137</c:v>
                </c:pt>
                <c:pt idx="153">
                  <c:v>371.71702132339379</c:v>
                </c:pt>
                <c:pt idx="154">
                  <c:v>391.68179534076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356-44D5-9D37-C4836F1D4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31.63909102752601</c:v>
                </c:pt>
                <c:pt idx="123">
                  <c:v>32.823442028556393</c:v>
                </c:pt>
                <c:pt idx="124">
                  <c:v>34.007793029586779</c:v>
                </c:pt>
                <c:pt idx="125">
                  <c:v>35.192144030617165</c:v>
                </c:pt>
                <c:pt idx="126">
                  <c:v>36.376495031647551</c:v>
                </c:pt>
                <c:pt idx="127">
                  <c:v>37.899232032972336</c:v>
                </c:pt>
                <c:pt idx="128">
                  <c:v>39.421969034297113</c:v>
                </c:pt>
                <c:pt idx="129">
                  <c:v>40.944706035621898</c:v>
                </c:pt>
                <c:pt idx="130">
                  <c:v>42.467443036946676</c:v>
                </c:pt>
                <c:pt idx="131">
                  <c:v>43.990180038271454</c:v>
                </c:pt>
                <c:pt idx="132">
                  <c:v>45.682110039743435</c:v>
                </c:pt>
                <c:pt idx="133">
                  <c:v>47.543233041362612</c:v>
                </c:pt>
                <c:pt idx="134">
                  <c:v>49.235163042834593</c:v>
                </c:pt>
                <c:pt idx="135">
                  <c:v>51.09628604445377</c:v>
                </c:pt>
                <c:pt idx="136">
                  <c:v>52.957409046072954</c:v>
                </c:pt>
                <c:pt idx="137">
                  <c:v>54.818532047692123</c:v>
                </c:pt>
                <c:pt idx="138">
                  <c:v>56.848848049458503</c:v>
                </c:pt>
                <c:pt idx="139">
                  <c:v>58.879164051224869</c:v>
                </c:pt>
                <c:pt idx="140">
                  <c:v>60.909480052991242</c:v>
                </c:pt>
                <c:pt idx="141">
                  <c:v>63.108989054904818</c:v>
                </c:pt>
                <c:pt idx="142">
                  <c:v>65.308498056818394</c:v>
                </c:pt>
                <c:pt idx="143">
                  <c:v>67.677200058879166</c:v>
                </c:pt>
                <c:pt idx="144">
                  <c:v>70.215095061087126</c:v>
                </c:pt>
                <c:pt idx="145">
                  <c:v>72.752990063295101</c:v>
                </c:pt>
                <c:pt idx="146">
                  <c:v>75.460078065650265</c:v>
                </c:pt>
                <c:pt idx="147">
                  <c:v>78.167166068005429</c:v>
                </c:pt>
                <c:pt idx="148">
                  <c:v>81.043447070507796</c:v>
                </c:pt>
                <c:pt idx="149">
                  <c:v>84.088921073157366</c:v>
                </c:pt>
                <c:pt idx="150">
                  <c:v>86.965202075659718</c:v>
                </c:pt>
                <c:pt idx="151">
                  <c:v>90.010676078309288</c:v>
                </c:pt>
                <c:pt idx="152">
                  <c:v>93.225343081106047</c:v>
                </c:pt>
                <c:pt idx="153">
                  <c:v>96.440010083902806</c:v>
                </c:pt>
                <c:pt idx="154">
                  <c:v>99.993063086993956</c:v>
                </c:pt>
                <c:pt idx="155">
                  <c:v>103.54611609008511</c:v>
                </c:pt>
                <c:pt idx="156">
                  <c:v>107.09916909317629</c:v>
                </c:pt>
                <c:pt idx="157">
                  <c:v>110.99060809656183</c:v>
                </c:pt>
                <c:pt idx="158">
                  <c:v>115.05124010009457</c:v>
                </c:pt>
                <c:pt idx="159">
                  <c:v>119.11187210362733</c:v>
                </c:pt>
                <c:pt idx="160">
                  <c:v>123.34169710730728</c:v>
                </c:pt>
                <c:pt idx="161">
                  <c:v>127.57152211098723</c:v>
                </c:pt>
                <c:pt idx="162">
                  <c:v>131.97054011481438</c:v>
                </c:pt>
                <c:pt idx="163">
                  <c:v>136.7079441189359</c:v>
                </c:pt>
                <c:pt idx="164">
                  <c:v>141.44534812305744</c:v>
                </c:pt>
                <c:pt idx="165">
                  <c:v>146.35194512732619</c:v>
                </c:pt>
                <c:pt idx="166">
                  <c:v>151.5969281318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356-44D5-9D37-C4836F1D4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31.808284027673206</c:v>
                </c:pt>
                <c:pt idx="123">
                  <c:v>33.331021028997988</c:v>
                </c:pt>
                <c:pt idx="124">
                  <c:v>34.853758030322766</c:v>
                </c:pt>
                <c:pt idx="125">
                  <c:v>36.545688031794754</c:v>
                </c:pt>
                <c:pt idx="126">
                  <c:v>38.237618033266727</c:v>
                </c:pt>
                <c:pt idx="127">
                  <c:v>40.2679340350331</c:v>
                </c:pt>
                <c:pt idx="128">
                  <c:v>42.636636037093872</c:v>
                </c:pt>
                <c:pt idx="129">
                  <c:v>44.836145039007448</c:v>
                </c:pt>
                <c:pt idx="130">
                  <c:v>47.035654040921017</c:v>
                </c:pt>
                <c:pt idx="131">
                  <c:v>49.573549043128985</c:v>
                </c:pt>
                <c:pt idx="132">
                  <c:v>52.11144404533696</c:v>
                </c:pt>
                <c:pt idx="133">
                  <c:v>54.987725047839319</c:v>
                </c:pt>
                <c:pt idx="134">
                  <c:v>58.033199050488882</c:v>
                </c:pt>
                <c:pt idx="135">
                  <c:v>60.909480052991242</c:v>
                </c:pt>
                <c:pt idx="136">
                  <c:v>63.954954055640812</c:v>
                </c:pt>
                <c:pt idx="137">
                  <c:v>67.338814058584774</c:v>
                </c:pt>
                <c:pt idx="138">
                  <c:v>70.722674061528721</c:v>
                </c:pt>
                <c:pt idx="139">
                  <c:v>74.275727064619886</c:v>
                </c:pt>
                <c:pt idx="140">
                  <c:v>77.99797306785824</c:v>
                </c:pt>
                <c:pt idx="141">
                  <c:v>81.889412071243797</c:v>
                </c:pt>
                <c:pt idx="142">
                  <c:v>86.119237074923745</c:v>
                </c:pt>
                <c:pt idx="143">
                  <c:v>90.518255078750883</c:v>
                </c:pt>
                <c:pt idx="144">
                  <c:v>95.086466082725224</c:v>
                </c:pt>
                <c:pt idx="145">
                  <c:v>99.993063086993956</c:v>
                </c:pt>
                <c:pt idx="146">
                  <c:v>105.23804609155709</c:v>
                </c:pt>
                <c:pt idx="147">
                  <c:v>110.65222209626744</c:v>
                </c:pt>
                <c:pt idx="148">
                  <c:v>116.23559110112497</c:v>
                </c:pt>
                <c:pt idx="149">
                  <c:v>122.1573461062769</c:v>
                </c:pt>
                <c:pt idx="150">
                  <c:v>128.4174871117232</c:v>
                </c:pt>
                <c:pt idx="151">
                  <c:v>134.84682111731672</c:v>
                </c:pt>
                <c:pt idx="152">
                  <c:v>141.61454112320465</c:v>
                </c:pt>
                <c:pt idx="153">
                  <c:v>148.72064712938698</c:v>
                </c:pt>
                <c:pt idx="154">
                  <c:v>156.16513913586368</c:v>
                </c:pt>
                <c:pt idx="155">
                  <c:v>163.94801714263477</c:v>
                </c:pt>
                <c:pt idx="156">
                  <c:v>172.06928114970029</c:v>
                </c:pt>
                <c:pt idx="157">
                  <c:v>180.69812415720736</c:v>
                </c:pt>
                <c:pt idx="158">
                  <c:v>189.66535316500887</c:v>
                </c:pt>
                <c:pt idx="159">
                  <c:v>199.14016117325195</c:v>
                </c:pt>
                <c:pt idx="160">
                  <c:v>208.95335518178942</c:v>
                </c:pt>
                <c:pt idx="161">
                  <c:v>219.27412819076849</c:v>
                </c:pt>
                <c:pt idx="162">
                  <c:v>230.27167320033635</c:v>
                </c:pt>
                <c:pt idx="163">
                  <c:v>241.77679721034579</c:v>
                </c:pt>
                <c:pt idx="164">
                  <c:v>253.78950022079687</c:v>
                </c:pt>
                <c:pt idx="165">
                  <c:v>266.47897523183673</c:v>
                </c:pt>
                <c:pt idx="166">
                  <c:v>279.67602924331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356-44D5-9D37-C4836F1D4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31.977477027820406</c:v>
                </c:pt>
                <c:pt idx="123">
                  <c:v>33.669407029292387</c:v>
                </c:pt>
                <c:pt idx="124">
                  <c:v>35.530530030911564</c:v>
                </c:pt>
                <c:pt idx="125">
                  <c:v>37.560846032677937</c:v>
                </c:pt>
                <c:pt idx="126">
                  <c:v>39.760355034591512</c:v>
                </c:pt>
                <c:pt idx="127">
                  <c:v>42.467443036946676</c:v>
                </c:pt>
                <c:pt idx="128">
                  <c:v>45.682110039743435</c:v>
                </c:pt>
                <c:pt idx="129">
                  <c:v>48.727584042392998</c:v>
                </c:pt>
                <c:pt idx="130">
                  <c:v>51.942251045189764</c:v>
                </c:pt>
                <c:pt idx="131">
                  <c:v>55.326111048133718</c:v>
                </c:pt>
                <c:pt idx="132">
                  <c:v>59.048357051372072</c:v>
                </c:pt>
                <c:pt idx="133">
                  <c:v>63.108989054904818</c:v>
                </c:pt>
                <c:pt idx="134">
                  <c:v>67.338814058584774</c:v>
                </c:pt>
                <c:pt idx="135">
                  <c:v>71.737832062411911</c:v>
                </c:pt>
                <c:pt idx="136">
                  <c:v>76.306043066386266</c:v>
                </c:pt>
                <c:pt idx="137">
                  <c:v>81.212640070654999</c:v>
                </c:pt>
                <c:pt idx="138">
                  <c:v>86.62681607536534</c:v>
                </c:pt>
                <c:pt idx="139">
                  <c:v>92.210185080222857</c:v>
                </c:pt>
                <c:pt idx="140">
                  <c:v>98.301133085521997</c:v>
                </c:pt>
                <c:pt idx="141">
                  <c:v>104.7304670911155</c:v>
                </c:pt>
                <c:pt idx="142">
                  <c:v>111.49818709700342</c:v>
                </c:pt>
                <c:pt idx="143">
                  <c:v>118.77348610333293</c:v>
                </c:pt>
                <c:pt idx="144">
                  <c:v>126.55636411010404</c:v>
                </c:pt>
                <c:pt idx="145">
                  <c:v>134.67762811716955</c:v>
                </c:pt>
                <c:pt idx="146">
                  <c:v>143.47566412482382</c:v>
                </c:pt>
                <c:pt idx="147">
                  <c:v>152.61208613277253</c:v>
                </c:pt>
                <c:pt idx="148">
                  <c:v>162.42528014131</c:v>
                </c:pt>
                <c:pt idx="149">
                  <c:v>172.91524615043625</c:v>
                </c:pt>
                <c:pt idx="150">
                  <c:v>184.08198416015134</c:v>
                </c:pt>
                <c:pt idx="151">
                  <c:v>195.92549417045518</c:v>
                </c:pt>
                <c:pt idx="152">
                  <c:v>208.61496918149501</c:v>
                </c:pt>
                <c:pt idx="153">
                  <c:v>221.98121619312366</c:v>
                </c:pt>
                <c:pt idx="154">
                  <c:v>236.36262120563549</c:v>
                </c:pt>
                <c:pt idx="155">
                  <c:v>251.58999121888328</c:v>
                </c:pt>
                <c:pt idx="156">
                  <c:v>267.66332623286706</c:v>
                </c:pt>
                <c:pt idx="157">
                  <c:v>284.75181924773409</c:v>
                </c:pt>
                <c:pt idx="158">
                  <c:v>303.02466326363145</c:v>
                </c:pt>
                <c:pt idx="159">
                  <c:v>322.31266528041198</c:v>
                </c:pt>
                <c:pt idx="160">
                  <c:v>342.95421129837018</c:v>
                </c:pt>
                <c:pt idx="161">
                  <c:v>364.78010831735867</c:v>
                </c:pt>
                <c:pt idx="162">
                  <c:v>388.12874233767201</c:v>
                </c:pt>
                <c:pt idx="163">
                  <c:v>413.00011335931015</c:v>
                </c:pt>
                <c:pt idx="164">
                  <c:v>439.56341438242015</c:v>
                </c:pt>
                <c:pt idx="165">
                  <c:v>467.64945240685506</c:v>
                </c:pt>
                <c:pt idx="166">
                  <c:v>497.59661343290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356-44D5-9D37-C4836F1D4B2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31.977477027820406</c:v>
                </c:pt>
                <c:pt idx="123">
                  <c:v>33.669407029292387</c:v>
                </c:pt>
                <c:pt idx="124">
                  <c:v>35.530530030911564</c:v>
                </c:pt>
                <c:pt idx="125">
                  <c:v>37.560846032677937</c:v>
                </c:pt>
                <c:pt idx="126">
                  <c:v>39.760355034591512</c:v>
                </c:pt>
                <c:pt idx="127">
                  <c:v>42.467443036946676</c:v>
                </c:pt>
                <c:pt idx="128">
                  <c:v>45.682110039743435</c:v>
                </c:pt>
                <c:pt idx="129">
                  <c:v>48.727584042392998</c:v>
                </c:pt>
                <c:pt idx="130">
                  <c:v>51.942251045189764</c:v>
                </c:pt>
                <c:pt idx="131">
                  <c:v>55.326111048133718</c:v>
                </c:pt>
                <c:pt idx="132">
                  <c:v>59.048357051372072</c:v>
                </c:pt>
                <c:pt idx="133">
                  <c:v>63.785761055493616</c:v>
                </c:pt>
                <c:pt idx="134">
                  <c:v>69.199937060203936</c:v>
                </c:pt>
                <c:pt idx="135">
                  <c:v>75.121692065355873</c:v>
                </c:pt>
                <c:pt idx="136">
                  <c:v>81.381833070802202</c:v>
                </c:pt>
                <c:pt idx="137">
                  <c:v>88.487939076984503</c:v>
                </c:pt>
                <c:pt idx="138">
                  <c:v>96.609203084050009</c:v>
                </c:pt>
                <c:pt idx="139">
                  <c:v>105.74562509199869</c:v>
                </c:pt>
                <c:pt idx="140">
                  <c:v>115.55881910053617</c:v>
                </c:pt>
                <c:pt idx="141">
                  <c:v>125.87959210951524</c:v>
                </c:pt>
                <c:pt idx="142">
                  <c:v>137.0463301192303</c:v>
                </c:pt>
                <c:pt idx="143">
                  <c:v>149.56661213012296</c:v>
                </c:pt>
                <c:pt idx="144">
                  <c:v>163.44043814219319</c:v>
                </c:pt>
                <c:pt idx="145">
                  <c:v>178.49861515529378</c:v>
                </c:pt>
                <c:pt idx="146">
                  <c:v>194.91033616957199</c:v>
                </c:pt>
                <c:pt idx="147">
                  <c:v>212.3372151847334</c:v>
                </c:pt>
                <c:pt idx="148">
                  <c:v>231.62521720151395</c:v>
                </c:pt>
                <c:pt idx="149">
                  <c:v>252.60514921976647</c:v>
                </c:pt>
                <c:pt idx="150">
                  <c:v>275.61539723978541</c:v>
                </c:pt>
                <c:pt idx="151">
                  <c:v>300.65596126157067</c:v>
                </c:pt>
                <c:pt idx="152">
                  <c:v>327.89603428526954</c:v>
                </c:pt>
                <c:pt idx="153">
                  <c:v>357.50480931102919</c:v>
                </c:pt>
                <c:pt idx="154">
                  <c:v>385.59084733546405</c:v>
                </c:pt>
                <c:pt idx="155">
                  <c:v>413.84607836004608</c:v>
                </c:pt>
                <c:pt idx="156">
                  <c:v>443.45485338580573</c:v>
                </c:pt>
                <c:pt idx="157">
                  <c:v>474.92475141318454</c:v>
                </c:pt>
                <c:pt idx="158">
                  <c:v>507.0714214411521</c:v>
                </c:pt>
                <c:pt idx="159">
                  <c:v>539.55647746941418</c:v>
                </c:pt>
                <c:pt idx="160">
                  <c:v>572.04153349767614</c:v>
                </c:pt>
                <c:pt idx="161">
                  <c:v>608.58722152947087</c:v>
                </c:pt>
                <c:pt idx="162">
                  <c:v>648.34757656406236</c:v>
                </c:pt>
                <c:pt idx="163">
                  <c:v>690.64582660086182</c:v>
                </c:pt>
                <c:pt idx="164">
                  <c:v>734.63600663913326</c:v>
                </c:pt>
                <c:pt idx="165">
                  <c:v>780.8256956793183</c:v>
                </c:pt>
                <c:pt idx="166">
                  <c:v>829.89166572200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356-44D5-9D37-C4836F1D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27</c:v>
                </c:pt>
                <c:pt idx="1">
                  <c:v>1</c:v>
                </c:pt>
                <c:pt idx="2">
                  <c:v>8</c:v>
                </c:pt>
                <c:pt idx="3">
                  <c:v>26</c:v>
                </c:pt>
                <c:pt idx="4">
                  <c:v>30</c:v>
                </c:pt>
                <c:pt idx="5">
                  <c:v>9</c:v>
                </c:pt>
                <c:pt idx="6">
                  <c:v>14</c:v>
                </c:pt>
                <c:pt idx="7">
                  <c:v>10</c:v>
                </c:pt>
                <c:pt idx="8">
                  <c:v>2</c:v>
                </c:pt>
                <c:pt idx="9">
                  <c:v>26</c:v>
                </c:pt>
                <c:pt idx="10">
                  <c:v>8</c:v>
                </c:pt>
                <c:pt idx="11">
                  <c:v>20</c:v>
                </c:pt>
                <c:pt idx="12">
                  <c:v>12</c:v>
                </c:pt>
                <c:pt idx="13">
                  <c:v>7</c:v>
                </c:pt>
                <c:pt idx="14">
                  <c:v>16</c:v>
                </c:pt>
                <c:pt idx="15">
                  <c:v>0</c:v>
                </c:pt>
                <c:pt idx="16">
                  <c:v>15</c:v>
                </c:pt>
                <c:pt idx="17">
                  <c:v>20</c:v>
                </c:pt>
                <c:pt idx="18">
                  <c:v>3</c:v>
                </c:pt>
                <c:pt idx="19">
                  <c:v>1</c:v>
                </c:pt>
                <c:pt idx="20">
                  <c:v>5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3</c:v>
                </c:pt>
                <c:pt idx="26">
                  <c:v>3</c:v>
                </c:pt>
                <c:pt idx="27">
                  <c:v>7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2</c:v>
                </c:pt>
                <c:pt idx="32">
                  <c:v>3</c:v>
                </c:pt>
                <c:pt idx="33">
                  <c:v>0</c:v>
                </c:pt>
                <c:pt idx="34">
                  <c:v>2</c:v>
                </c:pt>
                <c:pt idx="35">
                  <c:v>1</c:v>
                </c:pt>
                <c:pt idx="36">
                  <c:v>2</c:v>
                </c:pt>
                <c:pt idx="37">
                  <c:v>5</c:v>
                </c:pt>
                <c:pt idx="38">
                  <c:v>0</c:v>
                </c:pt>
                <c:pt idx="39">
                  <c:v>4</c:v>
                </c:pt>
                <c:pt idx="40">
                  <c:v>4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4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0</c:v>
                </c:pt>
                <c:pt idx="62">
                  <c:v>2</c:v>
                </c:pt>
                <c:pt idx="63">
                  <c:v>3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1</c:v>
                </c:pt>
                <c:pt idx="69">
                  <c:v>2</c:v>
                </c:pt>
                <c:pt idx="70">
                  <c:v>1</c:v>
                </c:pt>
                <c:pt idx="71">
                  <c:v>0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7</c:v>
                </c:pt>
                <c:pt idx="78">
                  <c:v>2</c:v>
                </c:pt>
                <c:pt idx="79">
                  <c:v>2</c:v>
                </c:pt>
                <c:pt idx="80">
                  <c:v>4</c:v>
                </c:pt>
                <c:pt idx="81">
                  <c:v>11</c:v>
                </c:pt>
                <c:pt idx="82">
                  <c:v>4</c:v>
                </c:pt>
                <c:pt idx="83">
                  <c:v>1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3</c:v>
                </c:pt>
                <c:pt idx="88">
                  <c:v>0</c:v>
                </c:pt>
                <c:pt idx="89">
                  <c:v>3</c:v>
                </c:pt>
                <c:pt idx="90">
                  <c:v>1</c:v>
                </c:pt>
                <c:pt idx="91">
                  <c:v>2</c:v>
                </c:pt>
                <c:pt idx="92">
                  <c:v>0</c:v>
                </c:pt>
                <c:pt idx="93">
                  <c:v>0</c:v>
                </c:pt>
                <c:pt idx="94">
                  <c:v>3</c:v>
                </c:pt>
                <c:pt idx="95">
                  <c:v>1</c:v>
                </c:pt>
                <c:pt idx="96">
                  <c:v>3</c:v>
                </c:pt>
                <c:pt idx="97">
                  <c:v>2</c:v>
                </c:pt>
                <c:pt idx="98">
                  <c:v>2</c:v>
                </c:pt>
                <c:pt idx="99">
                  <c:v>0</c:v>
                </c:pt>
                <c:pt idx="100">
                  <c:v>1</c:v>
                </c:pt>
                <c:pt idx="101">
                  <c:v>10</c:v>
                </c:pt>
                <c:pt idx="102">
                  <c:v>9</c:v>
                </c:pt>
                <c:pt idx="103">
                  <c:v>5</c:v>
                </c:pt>
                <c:pt idx="104">
                  <c:v>6</c:v>
                </c:pt>
                <c:pt idx="105">
                  <c:v>4</c:v>
                </c:pt>
                <c:pt idx="106">
                  <c:v>0</c:v>
                </c:pt>
                <c:pt idx="107">
                  <c:v>1</c:v>
                </c:pt>
                <c:pt idx="108">
                  <c:v>11</c:v>
                </c:pt>
                <c:pt idx="109">
                  <c:v>6</c:v>
                </c:pt>
                <c:pt idx="110">
                  <c:v>2</c:v>
                </c:pt>
                <c:pt idx="111">
                  <c:v>7</c:v>
                </c:pt>
                <c:pt idx="112">
                  <c:v>5</c:v>
                </c:pt>
                <c:pt idx="113">
                  <c:v>0</c:v>
                </c:pt>
                <c:pt idx="114">
                  <c:v>7</c:v>
                </c:pt>
                <c:pt idx="115">
                  <c:v>10</c:v>
                </c:pt>
                <c:pt idx="116">
                  <c:v>4</c:v>
                </c:pt>
                <c:pt idx="117">
                  <c:v>2</c:v>
                </c:pt>
                <c:pt idx="118">
                  <c:v>7</c:v>
                </c:pt>
                <c:pt idx="119">
                  <c:v>3</c:v>
                </c:pt>
                <c:pt idx="120">
                  <c:v>3</c:v>
                </c:pt>
                <c:pt idx="121">
                  <c:v>14</c:v>
                </c:pt>
                <c:pt idx="122">
                  <c:v>16</c:v>
                </c:pt>
                <c:pt idx="123">
                  <c:v>14</c:v>
                </c:pt>
                <c:pt idx="124">
                  <c:v>23</c:v>
                </c:pt>
                <c:pt idx="125">
                  <c:v>12</c:v>
                </c:pt>
                <c:pt idx="126">
                  <c:v>13</c:v>
                </c:pt>
                <c:pt idx="127">
                  <c:v>3</c:v>
                </c:pt>
                <c:pt idx="128">
                  <c:v>17</c:v>
                </c:pt>
                <c:pt idx="129">
                  <c:v>32</c:v>
                </c:pt>
                <c:pt idx="130">
                  <c:v>24</c:v>
                </c:pt>
                <c:pt idx="131">
                  <c:v>24</c:v>
                </c:pt>
                <c:pt idx="132">
                  <c:v>19</c:v>
                </c:pt>
                <c:pt idx="133">
                  <c:v>21</c:v>
                </c:pt>
                <c:pt idx="134">
                  <c:v>5</c:v>
                </c:pt>
                <c:pt idx="135">
                  <c:v>14</c:v>
                </c:pt>
                <c:pt idx="136">
                  <c:v>11</c:v>
                </c:pt>
                <c:pt idx="137">
                  <c:v>28</c:v>
                </c:pt>
                <c:pt idx="138">
                  <c:v>18</c:v>
                </c:pt>
                <c:pt idx="139">
                  <c:v>9</c:v>
                </c:pt>
                <c:pt idx="140">
                  <c:v>7</c:v>
                </c:pt>
                <c:pt idx="141">
                  <c:v>6</c:v>
                </c:pt>
                <c:pt idx="142">
                  <c:v>6</c:v>
                </c:pt>
                <c:pt idx="143">
                  <c:v>17</c:v>
                </c:pt>
                <c:pt idx="144">
                  <c:v>14</c:v>
                </c:pt>
                <c:pt idx="145">
                  <c:v>9</c:v>
                </c:pt>
                <c:pt idx="146">
                  <c:v>5</c:v>
                </c:pt>
                <c:pt idx="147">
                  <c:v>11</c:v>
                </c:pt>
                <c:pt idx="148">
                  <c:v>0</c:v>
                </c:pt>
                <c:pt idx="149">
                  <c:v>6</c:v>
                </c:pt>
                <c:pt idx="150">
                  <c:v>11</c:v>
                </c:pt>
                <c:pt idx="151">
                  <c:v>4</c:v>
                </c:pt>
                <c:pt idx="152">
                  <c:v>6</c:v>
                </c:pt>
                <c:pt idx="153">
                  <c:v>3</c:v>
                </c:pt>
                <c:pt idx="154">
                  <c:v>3</c:v>
                </c:pt>
                <c:pt idx="155">
                  <c:v>3</c:v>
                </c:pt>
                <c:pt idx="156">
                  <c:v>8</c:v>
                </c:pt>
                <c:pt idx="157">
                  <c:v>10</c:v>
                </c:pt>
                <c:pt idx="158">
                  <c:v>10</c:v>
                </c:pt>
                <c:pt idx="159">
                  <c:v>11</c:v>
                </c:pt>
                <c:pt idx="160">
                  <c:v>17</c:v>
                </c:pt>
                <c:pt idx="161">
                  <c:v>13</c:v>
                </c:pt>
                <c:pt idx="162">
                  <c:v>0</c:v>
                </c:pt>
                <c:pt idx="163">
                  <c:v>16</c:v>
                </c:pt>
                <c:pt idx="164">
                  <c:v>24</c:v>
                </c:pt>
                <c:pt idx="165">
                  <c:v>9</c:v>
                </c:pt>
                <c:pt idx="166">
                  <c:v>27</c:v>
                </c:pt>
                <c:pt idx="167">
                  <c:v>20</c:v>
                </c:pt>
                <c:pt idx="168">
                  <c:v>24</c:v>
                </c:pt>
                <c:pt idx="169">
                  <c:v>7</c:v>
                </c:pt>
                <c:pt idx="170">
                  <c:v>25</c:v>
                </c:pt>
                <c:pt idx="171">
                  <c:v>36</c:v>
                </c:pt>
                <c:pt idx="172">
                  <c:v>26</c:v>
                </c:pt>
                <c:pt idx="173">
                  <c:v>40</c:v>
                </c:pt>
                <c:pt idx="174">
                  <c:v>31</c:v>
                </c:pt>
                <c:pt idx="175">
                  <c:v>31</c:v>
                </c:pt>
                <c:pt idx="176">
                  <c:v>10</c:v>
                </c:pt>
                <c:pt idx="177">
                  <c:v>31</c:v>
                </c:pt>
                <c:pt idx="178">
                  <c:v>56</c:v>
                </c:pt>
                <c:pt idx="179">
                  <c:v>45</c:v>
                </c:pt>
                <c:pt idx="180">
                  <c:v>51</c:v>
                </c:pt>
                <c:pt idx="181">
                  <c:v>31</c:v>
                </c:pt>
                <c:pt idx="182">
                  <c:v>78</c:v>
                </c:pt>
                <c:pt idx="183">
                  <c:v>22</c:v>
                </c:pt>
                <c:pt idx="184">
                  <c:v>65</c:v>
                </c:pt>
                <c:pt idx="185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4D-492F-9EB6-DD67D53037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9</c:v>
                </c:pt>
                <c:pt idx="154">
                  <c:v>9</c:v>
                </c:pt>
                <c:pt idx="155">
                  <c:v>9</c:v>
                </c:pt>
                <c:pt idx="156">
                  <c:v>10</c:v>
                </c:pt>
                <c:pt idx="157">
                  <c:v>10</c:v>
                </c:pt>
                <c:pt idx="158">
                  <c:v>10</c:v>
                </c:pt>
                <c:pt idx="159">
                  <c:v>11</c:v>
                </c:pt>
                <c:pt idx="160">
                  <c:v>11</c:v>
                </c:pt>
                <c:pt idx="161">
                  <c:v>12</c:v>
                </c:pt>
                <c:pt idx="162">
                  <c:v>12</c:v>
                </c:pt>
                <c:pt idx="163">
                  <c:v>13</c:v>
                </c:pt>
                <c:pt idx="164">
                  <c:v>13</c:v>
                </c:pt>
                <c:pt idx="165">
                  <c:v>13</c:v>
                </c:pt>
                <c:pt idx="166">
                  <c:v>14</c:v>
                </c:pt>
                <c:pt idx="167">
                  <c:v>14</c:v>
                </c:pt>
                <c:pt idx="168">
                  <c:v>15</c:v>
                </c:pt>
                <c:pt idx="169">
                  <c:v>16</c:v>
                </c:pt>
                <c:pt idx="170">
                  <c:v>16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19</c:v>
                </c:pt>
                <c:pt idx="175">
                  <c:v>19</c:v>
                </c:pt>
                <c:pt idx="176">
                  <c:v>20</c:v>
                </c:pt>
                <c:pt idx="177">
                  <c:v>21</c:v>
                </c:pt>
                <c:pt idx="178">
                  <c:v>21</c:v>
                </c:pt>
                <c:pt idx="179">
                  <c:v>22</c:v>
                </c:pt>
                <c:pt idx="180">
                  <c:v>23</c:v>
                </c:pt>
                <c:pt idx="181">
                  <c:v>24</c:v>
                </c:pt>
                <c:pt idx="182">
                  <c:v>25</c:v>
                </c:pt>
                <c:pt idx="183">
                  <c:v>25</c:v>
                </c:pt>
                <c:pt idx="184">
                  <c:v>26</c:v>
                </c:pt>
                <c:pt idx="185">
                  <c:v>27</c:v>
                </c:pt>
                <c:pt idx="186">
                  <c:v>28</c:v>
                </c:pt>
                <c:pt idx="187">
                  <c:v>29</c:v>
                </c:pt>
                <c:pt idx="188">
                  <c:v>30</c:v>
                </c:pt>
                <c:pt idx="189">
                  <c:v>31</c:v>
                </c:pt>
                <c:pt idx="190">
                  <c:v>32</c:v>
                </c:pt>
                <c:pt idx="191">
                  <c:v>34</c:v>
                </c:pt>
                <c:pt idx="192">
                  <c:v>35</c:v>
                </c:pt>
                <c:pt idx="193">
                  <c:v>36</c:v>
                </c:pt>
                <c:pt idx="194">
                  <c:v>37</c:v>
                </c:pt>
                <c:pt idx="195">
                  <c:v>39</c:v>
                </c:pt>
                <c:pt idx="196">
                  <c:v>40</c:v>
                </c:pt>
                <c:pt idx="197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4D-492F-9EB6-DD67D53037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9</c:v>
                </c:pt>
                <c:pt idx="154">
                  <c:v>9</c:v>
                </c:pt>
                <c:pt idx="155">
                  <c:v>10</c:v>
                </c:pt>
                <c:pt idx="156">
                  <c:v>10</c:v>
                </c:pt>
                <c:pt idx="157">
                  <c:v>11</c:v>
                </c:pt>
                <c:pt idx="158">
                  <c:v>11</c:v>
                </c:pt>
                <c:pt idx="159">
                  <c:v>12</c:v>
                </c:pt>
                <c:pt idx="160">
                  <c:v>13</c:v>
                </c:pt>
                <c:pt idx="161">
                  <c:v>13</c:v>
                </c:pt>
                <c:pt idx="162">
                  <c:v>14</c:v>
                </c:pt>
                <c:pt idx="163">
                  <c:v>15</c:v>
                </c:pt>
                <c:pt idx="164">
                  <c:v>16</c:v>
                </c:pt>
                <c:pt idx="165">
                  <c:v>16</c:v>
                </c:pt>
                <c:pt idx="166">
                  <c:v>17</c:v>
                </c:pt>
                <c:pt idx="167">
                  <c:v>18</c:v>
                </c:pt>
                <c:pt idx="168">
                  <c:v>19</c:v>
                </c:pt>
                <c:pt idx="169">
                  <c:v>20</c:v>
                </c:pt>
                <c:pt idx="170">
                  <c:v>21</c:v>
                </c:pt>
                <c:pt idx="171">
                  <c:v>22</c:v>
                </c:pt>
                <c:pt idx="172">
                  <c:v>23</c:v>
                </c:pt>
                <c:pt idx="173">
                  <c:v>25</c:v>
                </c:pt>
                <c:pt idx="174">
                  <c:v>26</c:v>
                </c:pt>
                <c:pt idx="175">
                  <c:v>27</c:v>
                </c:pt>
                <c:pt idx="176">
                  <c:v>28</c:v>
                </c:pt>
                <c:pt idx="177">
                  <c:v>30</c:v>
                </c:pt>
                <c:pt idx="178">
                  <c:v>31</c:v>
                </c:pt>
                <c:pt idx="179">
                  <c:v>33</c:v>
                </c:pt>
                <c:pt idx="180">
                  <c:v>35</c:v>
                </c:pt>
                <c:pt idx="181">
                  <c:v>36</c:v>
                </c:pt>
                <c:pt idx="182">
                  <c:v>38</c:v>
                </c:pt>
                <c:pt idx="183">
                  <c:v>40</c:v>
                </c:pt>
                <c:pt idx="184">
                  <c:v>42</c:v>
                </c:pt>
                <c:pt idx="185">
                  <c:v>44</c:v>
                </c:pt>
                <c:pt idx="186">
                  <c:v>46</c:v>
                </c:pt>
                <c:pt idx="187">
                  <c:v>49</c:v>
                </c:pt>
                <c:pt idx="188">
                  <c:v>51</c:v>
                </c:pt>
                <c:pt idx="189">
                  <c:v>54</c:v>
                </c:pt>
                <c:pt idx="190">
                  <c:v>56</c:v>
                </c:pt>
                <c:pt idx="191">
                  <c:v>59</c:v>
                </c:pt>
                <c:pt idx="192">
                  <c:v>62</c:v>
                </c:pt>
                <c:pt idx="193">
                  <c:v>65</c:v>
                </c:pt>
                <c:pt idx="194">
                  <c:v>69</c:v>
                </c:pt>
                <c:pt idx="195">
                  <c:v>72</c:v>
                </c:pt>
                <c:pt idx="196">
                  <c:v>76</c:v>
                </c:pt>
                <c:pt idx="197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E4D-492F-9EB6-DD67D53037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9</c:v>
                </c:pt>
                <c:pt idx="154">
                  <c:v>10</c:v>
                </c:pt>
                <c:pt idx="155">
                  <c:v>11</c:v>
                </c:pt>
                <c:pt idx="156">
                  <c:v>11</c:v>
                </c:pt>
                <c:pt idx="157">
                  <c:v>12</c:v>
                </c:pt>
                <c:pt idx="158">
                  <c:v>13</c:v>
                </c:pt>
                <c:pt idx="159">
                  <c:v>14</c:v>
                </c:pt>
                <c:pt idx="160">
                  <c:v>15</c:v>
                </c:pt>
                <c:pt idx="161">
                  <c:v>15</c:v>
                </c:pt>
                <c:pt idx="162">
                  <c:v>16</c:v>
                </c:pt>
                <c:pt idx="163">
                  <c:v>17</c:v>
                </c:pt>
                <c:pt idx="164">
                  <c:v>19</c:v>
                </c:pt>
                <c:pt idx="165">
                  <c:v>20</c:v>
                </c:pt>
                <c:pt idx="166">
                  <c:v>21</c:v>
                </c:pt>
                <c:pt idx="167">
                  <c:v>23</c:v>
                </c:pt>
                <c:pt idx="168">
                  <c:v>24</c:v>
                </c:pt>
                <c:pt idx="169">
                  <c:v>26</c:v>
                </c:pt>
                <c:pt idx="170">
                  <c:v>27</c:v>
                </c:pt>
                <c:pt idx="171">
                  <c:v>29</c:v>
                </c:pt>
                <c:pt idx="172">
                  <c:v>31</c:v>
                </c:pt>
                <c:pt idx="173">
                  <c:v>33</c:v>
                </c:pt>
                <c:pt idx="174">
                  <c:v>35</c:v>
                </c:pt>
                <c:pt idx="175">
                  <c:v>37</c:v>
                </c:pt>
                <c:pt idx="176">
                  <c:v>40</c:v>
                </c:pt>
                <c:pt idx="177">
                  <c:v>42</c:v>
                </c:pt>
                <c:pt idx="178">
                  <c:v>45</c:v>
                </c:pt>
                <c:pt idx="179">
                  <c:v>48</c:v>
                </c:pt>
                <c:pt idx="180">
                  <c:v>51</c:v>
                </c:pt>
                <c:pt idx="181">
                  <c:v>54</c:v>
                </c:pt>
                <c:pt idx="182">
                  <c:v>58</c:v>
                </c:pt>
                <c:pt idx="183">
                  <c:v>61</c:v>
                </c:pt>
                <c:pt idx="184">
                  <c:v>65</c:v>
                </c:pt>
                <c:pt idx="185">
                  <c:v>70</c:v>
                </c:pt>
                <c:pt idx="186">
                  <c:v>74</c:v>
                </c:pt>
                <c:pt idx="187">
                  <c:v>79</c:v>
                </c:pt>
                <c:pt idx="188">
                  <c:v>84</c:v>
                </c:pt>
                <c:pt idx="189">
                  <c:v>89</c:v>
                </c:pt>
                <c:pt idx="190">
                  <c:v>95</c:v>
                </c:pt>
                <c:pt idx="191">
                  <c:v>101</c:v>
                </c:pt>
                <c:pt idx="192">
                  <c:v>107</c:v>
                </c:pt>
                <c:pt idx="193">
                  <c:v>114</c:v>
                </c:pt>
                <c:pt idx="194">
                  <c:v>122</c:v>
                </c:pt>
                <c:pt idx="195">
                  <c:v>129</c:v>
                </c:pt>
                <c:pt idx="196">
                  <c:v>138</c:v>
                </c:pt>
                <c:pt idx="197">
                  <c:v>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4D-492F-9EB6-DD67D53037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9</c:v>
                </c:pt>
                <c:pt idx="154">
                  <c:v>10</c:v>
                </c:pt>
                <c:pt idx="155">
                  <c:v>11</c:v>
                </c:pt>
                <c:pt idx="156">
                  <c:v>11</c:v>
                </c:pt>
                <c:pt idx="157">
                  <c:v>12</c:v>
                </c:pt>
                <c:pt idx="158">
                  <c:v>13</c:v>
                </c:pt>
                <c:pt idx="159">
                  <c:v>14</c:v>
                </c:pt>
                <c:pt idx="160">
                  <c:v>15</c:v>
                </c:pt>
                <c:pt idx="161">
                  <c:v>15</c:v>
                </c:pt>
                <c:pt idx="162">
                  <c:v>16</c:v>
                </c:pt>
                <c:pt idx="163">
                  <c:v>17</c:v>
                </c:pt>
                <c:pt idx="164">
                  <c:v>20</c:v>
                </c:pt>
                <c:pt idx="165">
                  <c:v>22</c:v>
                </c:pt>
                <c:pt idx="166">
                  <c:v>24</c:v>
                </c:pt>
                <c:pt idx="167">
                  <c:v>25</c:v>
                </c:pt>
                <c:pt idx="168">
                  <c:v>28</c:v>
                </c:pt>
                <c:pt idx="169">
                  <c:v>30</c:v>
                </c:pt>
                <c:pt idx="170">
                  <c:v>33</c:v>
                </c:pt>
                <c:pt idx="171">
                  <c:v>37</c:v>
                </c:pt>
                <c:pt idx="172">
                  <c:v>40</c:v>
                </c:pt>
                <c:pt idx="173">
                  <c:v>43</c:v>
                </c:pt>
                <c:pt idx="174">
                  <c:v>47</c:v>
                </c:pt>
                <c:pt idx="175">
                  <c:v>51</c:v>
                </c:pt>
                <c:pt idx="176">
                  <c:v>56</c:v>
                </c:pt>
                <c:pt idx="177">
                  <c:v>61</c:v>
                </c:pt>
                <c:pt idx="178">
                  <c:v>67</c:v>
                </c:pt>
                <c:pt idx="179">
                  <c:v>73</c:v>
                </c:pt>
                <c:pt idx="180">
                  <c:v>79</c:v>
                </c:pt>
                <c:pt idx="181">
                  <c:v>87</c:v>
                </c:pt>
                <c:pt idx="182">
                  <c:v>95</c:v>
                </c:pt>
                <c:pt idx="183">
                  <c:v>103</c:v>
                </c:pt>
                <c:pt idx="184">
                  <c:v>112</c:v>
                </c:pt>
                <c:pt idx="185">
                  <c:v>115</c:v>
                </c:pt>
                <c:pt idx="186">
                  <c:v>122</c:v>
                </c:pt>
                <c:pt idx="187">
                  <c:v>130</c:v>
                </c:pt>
                <c:pt idx="188">
                  <c:v>141</c:v>
                </c:pt>
                <c:pt idx="189">
                  <c:v>150</c:v>
                </c:pt>
                <c:pt idx="190">
                  <c:v>159</c:v>
                </c:pt>
                <c:pt idx="191">
                  <c:v>168</c:v>
                </c:pt>
                <c:pt idx="192">
                  <c:v>178</c:v>
                </c:pt>
                <c:pt idx="193">
                  <c:v>190</c:v>
                </c:pt>
                <c:pt idx="194">
                  <c:v>203</c:v>
                </c:pt>
                <c:pt idx="195">
                  <c:v>217</c:v>
                </c:pt>
                <c:pt idx="196">
                  <c:v>230</c:v>
                </c:pt>
                <c:pt idx="197">
                  <c:v>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4D-492F-9EB6-DD67D530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C-4377-A703-66357AD7E0B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5.4549607754226743</c:v>
                </c:pt>
                <c:pt idx="1">
                  <c:v>5.4549607754226743</c:v>
                </c:pt>
                <c:pt idx="2">
                  <c:v>4.4321556300309233</c:v>
                </c:pt>
                <c:pt idx="3">
                  <c:v>2.7274803877113372</c:v>
                </c:pt>
                <c:pt idx="4">
                  <c:v>3.068415436175254</c:v>
                </c:pt>
                <c:pt idx="5">
                  <c:v>3.7502855331030882</c:v>
                </c:pt>
                <c:pt idx="6">
                  <c:v>5.114025726958757</c:v>
                </c:pt>
                <c:pt idx="7">
                  <c:v>4.4321556300309233</c:v>
                </c:pt>
                <c:pt idx="8">
                  <c:v>4.7730906784948397</c:v>
                </c:pt>
                <c:pt idx="9">
                  <c:v>6.1368308723505081</c:v>
                </c:pt>
                <c:pt idx="10">
                  <c:v>6.1368308723505081</c:v>
                </c:pt>
                <c:pt idx="11">
                  <c:v>5.7958958238865907</c:v>
                </c:pt>
                <c:pt idx="12">
                  <c:v>5.4549607754226743</c:v>
                </c:pt>
                <c:pt idx="13">
                  <c:v>4.091220581567006</c:v>
                </c:pt>
                <c:pt idx="14">
                  <c:v>5.4549607754226743</c:v>
                </c:pt>
                <c:pt idx="15">
                  <c:v>4.091220581567006</c:v>
                </c:pt>
                <c:pt idx="16">
                  <c:v>2.7274803877113372</c:v>
                </c:pt>
                <c:pt idx="17">
                  <c:v>2.3865453392474199</c:v>
                </c:pt>
                <c:pt idx="18">
                  <c:v>2.3865453392474199</c:v>
                </c:pt>
                <c:pt idx="19">
                  <c:v>2.045610290783503</c:v>
                </c:pt>
                <c:pt idx="20">
                  <c:v>2.045610290783503</c:v>
                </c:pt>
                <c:pt idx="21">
                  <c:v>0.68187009692783429</c:v>
                </c:pt>
                <c:pt idx="22">
                  <c:v>1.0228051453917515</c:v>
                </c:pt>
                <c:pt idx="23">
                  <c:v>1.0228051453917515</c:v>
                </c:pt>
                <c:pt idx="24">
                  <c:v>0.68187009692783429</c:v>
                </c:pt>
                <c:pt idx="25">
                  <c:v>1.3637401938556686</c:v>
                </c:pt>
                <c:pt idx="26">
                  <c:v>1.3637401938556686</c:v>
                </c:pt>
                <c:pt idx="27">
                  <c:v>2.045610290783503</c:v>
                </c:pt>
                <c:pt idx="28">
                  <c:v>2.7274803877113372</c:v>
                </c:pt>
                <c:pt idx="29">
                  <c:v>3.068415436175254</c:v>
                </c:pt>
                <c:pt idx="30">
                  <c:v>3.068415436175254</c:v>
                </c:pt>
                <c:pt idx="31">
                  <c:v>3.7502855331030882</c:v>
                </c:pt>
                <c:pt idx="32">
                  <c:v>4.091220581567006</c:v>
                </c:pt>
                <c:pt idx="33">
                  <c:v>4.091220581567006</c:v>
                </c:pt>
                <c:pt idx="34">
                  <c:v>3.4093504846391713</c:v>
                </c:pt>
                <c:pt idx="35">
                  <c:v>3.4093504846391713</c:v>
                </c:pt>
                <c:pt idx="36">
                  <c:v>3.4093504846391713</c:v>
                </c:pt>
                <c:pt idx="37">
                  <c:v>3.7502855331030882</c:v>
                </c:pt>
                <c:pt idx="38">
                  <c:v>3.7502855331030882</c:v>
                </c:pt>
                <c:pt idx="39">
                  <c:v>3.068415436175254</c:v>
                </c:pt>
                <c:pt idx="40">
                  <c:v>3.068415436175254</c:v>
                </c:pt>
                <c:pt idx="41">
                  <c:v>3.7502855331030882</c:v>
                </c:pt>
                <c:pt idx="42">
                  <c:v>3.7502855331030882</c:v>
                </c:pt>
                <c:pt idx="43">
                  <c:v>3.7502855331030882</c:v>
                </c:pt>
                <c:pt idx="44">
                  <c:v>4.091220581567006</c:v>
                </c:pt>
                <c:pt idx="45">
                  <c:v>4.091220581567006</c:v>
                </c:pt>
                <c:pt idx="46">
                  <c:v>6.1368308723505081</c:v>
                </c:pt>
                <c:pt idx="47">
                  <c:v>6.8187009692783427</c:v>
                </c:pt>
                <c:pt idx="48">
                  <c:v>6.4777659208144254</c:v>
                </c:pt>
                <c:pt idx="49">
                  <c:v>7.1596360177422591</c:v>
                </c:pt>
                <c:pt idx="50">
                  <c:v>10.228051453917514</c:v>
                </c:pt>
                <c:pt idx="51">
                  <c:v>10.909921550845349</c:v>
                </c:pt>
                <c:pt idx="52">
                  <c:v>10.568986502381431</c:v>
                </c:pt>
                <c:pt idx="53">
                  <c:v>9.2052463085257639</c:v>
                </c:pt>
                <c:pt idx="54">
                  <c:v>8.8643112600618466</c:v>
                </c:pt>
                <c:pt idx="55">
                  <c:v>9.2052463085257639</c:v>
                </c:pt>
                <c:pt idx="56">
                  <c:v>8.8643112600618466</c:v>
                </c:pt>
                <c:pt idx="57">
                  <c:v>5.114025726958757</c:v>
                </c:pt>
                <c:pt idx="58">
                  <c:v>4.7730906784948397</c:v>
                </c:pt>
                <c:pt idx="59">
                  <c:v>4.7730906784948397</c:v>
                </c:pt>
                <c:pt idx="60">
                  <c:v>4.4321556300309233</c:v>
                </c:pt>
                <c:pt idx="61">
                  <c:v>4.091220581567006</c:v>
                </c:pt>
                <c:pt idx="62">
                  <c:v>3.068415436175254</c:v>
                </c:pt>
                <c:pt idx="63">
                  <c:v>3.068415436175254</c:v>
                </c:pt>
                <c:pt idx="64">
                  <c:v>3.4093504846391713</c:v>
                </c:pt>
                <c:pt idx="65">
                  <c:v>3.4093504846391713</c:v>
                </c:pt>
                <c:pt idx="66">
                  <c:v>3.7502855331030882</c:v>
                </c:pt>
                <c:pt idx="67">
                  <c:v>3.7502855331030882</c:v>
                </c:pt>
                <c:pt idx="68">
                  <c:v>3.7502855331030882</c:v>
                </c:pt>
                <c:pt idx="69">
                  <c:v>4.091220581567006</c:v>
                </c:pt>
                <c:pt idx="70">
                  <c:v>6.4777659208144254</c:v>
                </c:pt>
                <c:pt idx="71">
                  <c:v>9.2052463085257639</c:v>
                </c:pt>
                <c:pt idx="72">
                  <c:v>9.8871164054535967</c:v>
                </c:pt>
                <c:pt idx="73">
                  <c:v>11.250856599309266</c:v>
                </c:pt>
                <c:pt idx="74">
                  <c:v>11.932726696237099</c:v>
                </c:pt>
                <c:pt idx="75">
                  <c:v>11.932726696237099</c:v>
                </c:pt>
                <c:pt idx="76">
                  <c:v>11.932726696237099</c:v>
                </c:pt>
                <c:pt idx="77">
                  <c:v>12.273661744701016</c:v>
                </c:pt>
                <c:pt idx="78">
                  <c:v>11.250856599309266</c:v>
                </c:pt>
                <c:pt idx="79">
                  <c:v>10.228051453917514</c:v>
                </c:pt>
                <c:pt idx="80">
                  <c:v>10.568986502381431</c:v>
                </c:pt>
                <c:pt idx="81">
                  <c:v>10.909921550845349</c:v>
                </c:pt>
                <c:pt idx="82">
                  <c:v>10.909921550845349</c:v>
                </c:pt>
                <c:pt idx="83">
                  <c:v>12.955531841628851</c:v>
                </c:pt>
                <c:pt idx="84">
                  <c:v>12.614596793164933</c:v>
                </c:pt>
                <c:pt idx="85">
                  <c:v>11.932726696237099</c:v>
                </c:pt>
                <c:pt idx="86">
                  <c:v>11.932726696237099</c:v>
                </c:pt>
                <c:pt idx="87">
                  <c:v>11.932726696237099</c:v>
                </c:pt>
                <c:pt idx="88">
                  <c:v>11.250856599309266</c:v>
                </c:pt>
                <c:pt idx="89">
                  <c:v>12.273661744701016</c:v>
                </c:pt>
                <c:pt idx="90">
                  <c:v>14.660207083948436</c:v>
                </c:pt>
                <c:pt idx="91">
                  <c:v>16.705817374731939</c:v>
                </c:pt>
                <c:pt idx="92">
                  <c:v>20.115167859371113</c:v>
                </c:pt>
                <c:pt idx="93">
                  <c:v>27.274803877113371</c:v>
                </c:pt>
                <c:pt idx="94">
                  <c:v>28.979479119432956</c:v>
                </c:pt>
                <c:pt idx="95">
                  <c:v>32.388829604072129</c:v>
                </c:pt>
                <c:pt idx="96">
                  <c:v>32.388829604072129</c:v>
                </c:pt>
                <c:pt idx="97">
                  <c:v>33.411634749463879</c:v>
                </c:pt>
                <c:pt idx="98">
                  <c:v>38.866595524886556</c:v>
                </c:pt>
                <c:pt idx="99">
                  <c:v>42.275946009525725</c:v>
                </c:pt>
                <c:pt idx="100">
                  <c:v>42.616881057989644</c:v>
                </c:pt>
                <c:pt idx="101">
                  <c:v>45.003426397237064</c:v>
                </c:pt>
                <c:pt idx="102">
                  <c:v>47.730906784948395</c:v>
                </c:pt>
                <c:pt idx="103">
                  <c:v>48.412776881876233</c:v>
                </c:pt>
                <c:pt idx="104">
                  <c:v>47.389971736484483</c:v>
                </c:pt>
                <c:pt idx="105">
                  <c:v>40.230335718742225</c:v>
                </c:pt>
                <c:pt idx="106">
                  <c:v>41.594075912597894</c:v>
                </c:pt>
                <c:pt idx="107">
                  <c:v>39.548465621814387</c:v>
                </c:pt>
                <c:pt idx="108">
                  <c:v>36.139115137175217</c:v>
                </c:pt>
                <c:pt idx="109">
                  <c:v>31.366024458680378</c:v>
                </c:pt>
                <c:pt idx="110">
                  <c:v>31.706959507144294</c:v>
                </c:pt>
                <c:pt idx="111">
                  <c:v>28.979479119432956</c:v>
                </c:pt>
                <c:pt idx="112">
                  <c:v>31.025089410216456</c:v>
                </c:pt>
                <c:pt idx="113">
                  <c:v>26.251998731721621</c:v>
                </c:pt>
                <c:pt idx="114">
                  <c:v>23.183583295546363</c:v>
                </c:pt>
                <c:pt idx="115">
                  <c:v>21.819843101690697</c:v>
                </c:pt>
                <c:pt idx="116">
                  <c:v>23.183583295546363</c:v>
                </c:pt>
                <c:pt idx="117">
                  <c:v>21.137973004762863</c:v>
                </c:pt>
                <c:pt idx="118">
                  <c:v>21.137973004762863</c:v>
                </c:pt>
                <c:pt idx="119">
                  <c:v>19.092362713979359</c:v>
                </c:pt>
                <c:pt idx="120">
                  <c:v>15.683012229340189</c:v>
                </c:pt>
                <c:pt idx="121">
                  <c:v>14.660207083948436</c:v>
                </c:pt>
                <c:pt idx="122">
                  <c:v>13.978336987020604</c:v>
                </c:pt>
                <c:pt idx="123">
                  <c:v>11.250856599309266</c:v>
                </c:pt>
                <c:pt idx="124">
                  <c:v>12.273661744701016</c:v>
                </c:pt>
                <c:pt idx="125">
                  <c:v>12.955531841628851</c:v>
                </c:pt>
                <c:pt idx="126">
                  <c:v>12.614596793164933</c:v>
                </c:pt>
                <c:pt idx="127">
                  <c:v>14.660207083948436</c:v>
                </c:pt>
                <c:pt idx="128">
                  <c:v>16.364882326268024</c:v>
                </c:pt>
                <c:pt idx="129">
                  <c:v>21.137973004762863</c:v>
                </c:pt>
                <c:pt idx="130">
                  <c:v>24.547323489402032</c:v>
                </c:pt>
                <c:pt idx="131">
                  <c:v>23.524518344010282</c:v>
                </c:pt>
                <c:pt idx="132">
                  <c:v>26.251998731721621</c:v>
                </c:pt>
                <c:pt idx="133">
                  <c:v>31.025089410216456</c:v>
                </c:pt>
                <c:pt idx="134">
                  <c:v>30.684154361752544</c:v>
                </c:pt>
                <c:pt idx="135">
                  <c:v>36.139115137175217</c:v>
                </c:pt>
                <c:pt idx="136">
                  <c:v>37.161920282566967</c:v>
                </c:pt>
                <c:pt idx="137">
                  <c:v>40.912205815670056</c:v>
                </c:pt>
                <c:pt idx="138">
                  <c:v>43.298751154917476</c:v>
                </c:pt>
                <c:pt idx="139">
                  <c:v>46.367166591092726</c:v>
                </c:pt>
                <c:pt idx="140">
                  <c:v>50.458387172659734</c:v>
                </c:pt>
                <c:pt idx="141">
                  <c:v>56.25428299654633</c:v>
                </c:pt>
                <c:pt idx="142">
                  <c:v>60.686438626577257</c:v>
                </c:pt>
                <c:pt idx="143">
                  <c:v>64.436724159680338</c:v>
                </c:pt>
                <c:pt idx="144">
                  <c:v>66.823269498927758</c:v>
                </c:pt>
                <c:pt idx="145">
                  <c:v>67.846074644319515</c:v>
                </c:pt>
                <c:pt idx="146">
                  <c:v>69.891684935103015</c:v>
                </c:pt>
                <c:pt idx="147">
                  <c:v>76.710385904381354</c:v>
                </c:pt>
                <c:pt idx="148">
                  <c:v>83.188151825195789</c:v>
                </c:pt>
                <c:pt idx="149">
                  <c:v>86.93843735829887</c:v>
                </c:pt>
                <c:pt idx="150">
                  <c:v>86.93843735829887</c:v>
                </c:pt>
                <c:pt idx="151">
                  <c:v>102.96238463610298</c:v>
                </c:pt>
                <c:pt idx="152">
                  <c:v>107.05360521766998</c:v>
                </c:pt>
                <c:pt idx="153">
                  <c:v>118.64539686544317</c:v>
                </c:pt>
                <c:pt idx="154">
                  <c:v>126.48690298011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EC-4377-A703-66357AD7E0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15.001142132412353</c:v>
                </c:pt>
                <c:pt idx="123">
                  <c:v>15.342077180876272</c:v>
                </c:pt>
                <c:pt idx="124">
                  <c:v>15.683012229340189</c:v>
                </c:pt>
                <c:pt idx="125">
                  <c:v>16.364882326268024</c:v>
                </c:pt>
                <c:pt idx="126">
                  <c:v>17.046752423195855</c:v>
                </c:pt>
                <c:pt idx="127">
                  <c:v>17.728622520123693</c:v>
                </c:pt>
                <c:pt idx="128">
                  <c:v>18.410492617051528</c:v>
                </c:pt>
                <c:pt idx="129">
                  <c:v>19.092362713979359</c:v>
                </c:pt>
                <c:pt idx="130">
                  <c:v>19.774232810907193</c:v>
                </c:pt>
                <c:pt idx="131">
                  <c:v>20.797037956298947</c:v>
                </c:pt>
                <c:pt idx="132">
                  <c:v>21.478908053226778</c:v>
                </c:pt>
                <c:pt idx="133">
                  <c:v>22.160778150154613</c:v>
                </c:pt>
                <c:pt idx="134">
                  <c:v>23.183583295546363</c:v>
                </c:pt>
                <c:pt idx="135">
                  <c:v>23.865453392474198</c:v>
                </c:pt>
                <c:pt idx="136">
                  <c:v>24.888258537865951</c:v>
                </c:pt>
                <c:pt idx="137">
                  <c:v>25.911063683257701</c:v>
                </c:pt>
                <c:pt idx="138">
                  <c:v>26.592933780185536</c:v>
                </c:pt>
                <c:pt idx="139">
                  <c:v>27.615738925577286</c:v>
                </c:pt>
                <c:pt idx="140">
                  <c:v>28.638544070969036</c:v>
                </c:pt>
                <c:pt idx="141">
                  <c:v>29.661349216360794</c:v>
                </c:pt>
                <c:pt idx="142">
                  <c:v>30.684154361752544</c:v>
                </c:pt>
                <c:pt idx="143">
                  <c:v>31.706959507144294</c:v>
                </c:pt>
                <c:pt idx="144">
                  <c:v>32.729764652536048</c:v>
                </c:pt>
                <c:pt idx="145">
                  <c:v>34.09350484639171</c:v>
                </c:pt>
                <c:pt idx="146">
                  <c:v>35.457245040247386</c:v>
                </c:pt>
                <c:pt idx="147">
                  <c:v>36.820985234103055</c:v>
                </c:pt>
                <c:pt idx="148">
                  <c:v>38.184725427958718</c:v>
                </c:pt>
                <c:pt idx="149">
                  <c:v>39.548465621814387</c:v>
                </c:pt>
                <c:pt idx="150">
                  <c:v>40.912205815670056</c:v>
                </c:pt>
                <c:pt idx="151">
                  <c:v>42.616881057989644</c:v>
                </c:pt>
                <c:pt idx="152">
                  <c:v>43.980621251845314</c:v>
                </c:pt>
                <c:pt idx="153">
                  <c:v>45.344361445700976</c:v>
                </c:pt>
                <c:pt idx="154">
                  <c:v>47.049036688020564</c:v>
                </c:pt>
                <c:pt idx="155">
                  <c:v>48.753711930340145</c:v>
                </c:pt>
                <c:pt idx="156">
                  <c:v>50.458387172659734</c:v>
                </c:pt>
                <c:pt idx="157">
                  <c:v>52.163062414979322</c:v>
                </c:pt>
                <c:pt idx="158">
                  <c:v>53.867737657298903</c:v>
                </c:pt>
                <c:pt idx="159">
                  <c:v>55.913347948082418</c:v>
                </c:pt>
                <c:pt idx="160">
                  <c:v>57.958958238865911</c:v>
                </c:pt>
                <c:pt idx="161">
                  <c:v>60.004568529649411</c:v>
                </c:pt>
                <c:pt idx="162">
                  <c:v>62.050178820432912</c:v>
                </c:pt>
                <c:pt idx="163">
                  <c:v>64.436724159680338</c:v>
                </c:pt>
                <c:pt idx="164">
                  <c:v>66.823269498927758</c:v>
                </c:pt>
                <c:pt idx="165">
                  <c:v>69.209814838175177</c:v>
                </c:pt>
                <c:pt idx="166">
                  <c:v>71.596360177422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EC-4377-A703-66357AD7E0B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15.001142132412353</c:v>
                </c:pt>
                <c:pt idx="123">
                  <c:v>15.683012229340189</c:v>
                </c:pt>
                <c:pt idx="124">
                  <c:v>16.364882326268024</c:v>
                </c:pt>
                <c:pt idx="125">
                  <c:v>17.046752423195855</c:v>
                </c:pt>
                <c:pt idx="126">
                  <c:v>18.069557568587609</c:v>
                </c:pt>
                <c:pt idx="127">
                  <c:v>19.092362713979359</c:v>
                </c:pt>
                <c:pt idx="128">
                  <c:v>20.115167859371113</c:v>
                </c:pt>
                <c:pt idx="129">
                  <c:v>21.137973004762863</c:v>
                </c:pt>
                <c:pt idx="130">
                  <c:v>22.160778150154613</c:v>
                </c:pt>
                <c:pt idx="131">
                  <c:v>23.183583295546363</c:v>
                </c:pt>
                <c:pt idx="132">
                  <c:v>24.547323489402032</c:v>
                </c:pt>
                <c:pt idx="133">
                  <c:v>25.911063683257701</c:v>
                </c:pt>
                <c:pt idx="134">
                  <c:v>27.274803877113371</c:v>
                </c:pt>
                <c:pt idx="135">
                  <c:v>28.638544070969036</c:v>
                </c:pt>
                <c:pt idx="136">
                  <c:v>30.343219313288628</c:v>
                </c:pt>
                <c:pt idx="137">
                  <c:v>31.706959507144294</c:v>
                </c:pt>
                <c:pt idx="138">
                  <c:v>33.411634749463879</c:v>
                </c:pt>
                <c:pt idx="139">
                  <c:v>35.116309991783467</c:v>
                </c:pt>
                <c:pt idx="140">
                  <c:v>36.820985234103055</c:v>
                </c:pt>
                <c:pt idx="141">
                  <c:v>38.866595524886556</c:v>
                </c:pt>
                <c:pt idx="142">
                  <c:v>40.912205815670056</c:v>
                </c:pt>
                <c:pt idx="143">
                  <c:v>42.957816106453556</c:v>
                </c:pt>
                <c:pt idx="144">
                  <c:v>45.344361445700976</c:v>
                </c:pt>
                <c:pt idx="145">
                  <c:v>47.730906784948395</c:v>
                </c:pt>
                <c:pt idx="146">
                  <c:v>50.117452124195822</c:v>
                </c:pt>
                <c:pt idx="147">
                  <c:v>52.503997463443241</c:v>
                </c:pt>
                <c:pt idx="148">
                  <c:v>54.890542802690661</c:v>
                </c:pt>
                <c:pt idx="149">
                  <c:v>57.618023190401999</c:v>
                </c:pt>
                <c:pt idx="150">
                  <c:v>60.34550357811333</c:v>
                </c:pt>
                <c:pt idx="151">
                  <c:v>63.413919014288588</c:v>
                </c:pt>
                <c:pt idx="152">
                  <c:v>66.482334450463838</c:v>
                </c:pt>
                <c:pt idx="153">
                  <c:v>69.891684935103015</c:v>
                </c:pt>
                <c:pt idx="154">
                  <c:v>73.301035419742178</c:v>
                </c:pt>
                <c:pt idx="155">
                  <c:v>77.051320952845273</c:v>
                </c:pt>
                <c:pt idx="156">
                  <c:v>80.801606485948355</c:v>
                </c:pt>
                <c:pt idx="157">
                  <c:v>84.89282706751537</c:v>
                </c:pt>
                <c:pt idx="158">
                  <c:v>88.98404764908237</c:v>
                </c:pt>
                <c:pt idx="159">
                  <c:v>93.416203279113304</c:v>
                </c:pt>
                <c:pt idx="160">
                  <c:v>97.84835890914421</c:v>
                </c:pt>
                <c:pt idx="161">
                  <c:v>102.96238463610298</c:v>
                </c:pt>
                <c:pt idx="162">
                  <c:v>108.07641036306173</c:v>
                </c:pt>
                <c:pt idx="163">
                  <c:v>113.5313711384844</c:v>
                </c:pt>
                <c:pt idx="164">
                  <c:v>119.327266962371</c:v>
                </c:pt>
                <c:pt idx="165">
                  <c:v>125.46409783472151</c:v>
                </c:pt>
                <c:pt idx="166">
                  <c:v>131.94186375553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EC-4377-A703-66357AD7E0B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15.001142132412353</c:v>
                </c:pt>
                <c:pt idx="123">
                  <c:v>15.683012229340189</c:v>
                </c:pt>
                <c:pt idx="124">
                  <c:v>16.705817374731939</c:v>
                </c:pt>
                <c:pt idx="125">
                  <c:v>17.728622520123693</c:v>
                </c:pt>
                <c:pt idx="126">
                  <c:v>18.75142766551544</c:v>
                </c:pt>
                <c:pt idx="127">
                  <c:v>20.115167859371113</c:v>
                </c:pt>
                <c:pt idx="128">
                  <c:v>21.478908053226778</c:v>
                </c:pt>
                <c:pt idx="129">
                  <c:v>23.183583295546363</c:v>
                </c:pt>
                <c:pt idx="130">
                  <c:v>24.547323489402032</c:v>
                </c:pt>
                <c:pt idx="131">
                  <c:v>25.911063683257701</c:v>
                </c:pt>
                <c:pt idx="132">
                  <c:v>27.615738925577286</c:v>
                </c:pt>
                <c:pt idx="133">
                  <c:v>29.661349216360794</c:v>
                </c:pt>
                <c:pt idx="134">
                  <c:v>31.706959507144294</c:v>
                </c:pt>
                <c:pt idx="135">
                  <c:v>33.752569797927798</c:v>
                </c:pt>
                <c:pt idx="136">
                  <c:v>35.798180088711298</c:v>
                </c:pt>
                <c:pt idx="137">
                  <c:v>38.184725427958718</c:v>
                </c:pt>
                <c:pt idx="138">
                  <c:v>40.571270767206137</c:v>
                </c:pt>
                <c:pt idx="139">
                  <c:v>43.298751154917476</c:v>
                </c:pt>
                <c:pt idx="140">
                  <c:v>46.026231542628814</c:v>
                </c:pt>
                <c:pt idx="141">
                  <c:v>49.094646978804064</c:v>
                </c:pt>
                <c:pt idx="142">
                  <c:v>52.163062414979322</c:v>
                </c:pt>
                <c:pt idx="143">
                  <c:v>55.572412899618492</c:v>
                </c:pt>
                <c:pt idx="144">
                  <c:v>59.322698432721587</c:v>
                </c:pt>
                <c:pt idx="145">
                  <c:v>63.413919014288588</c:v>
                </c:pt>
                <c:pt idx="146">
                  <c:v>67.505139595855596</c:v>
                </c:pt>
                <c:pt idx="147">
                  <c:v>71.937295225886515</c:v>
                </c:pt>
                <c:pt idx="148">
                  <c:v>76.369450855917435</c:v>
                </c:pt>
                <c:pt idx="149">
                  <c:v>81.483476582876193</c:v>
                </c:pt>
                <c:pt idx="150">
                  <c:v>86.597502309834951</c:v>
                </c:pt>
                <c:pt idx="151">
                  <c:v>92.052463085257628</c:v>
                </c:pt>
                <c:pt idx="152">
                  <c:v>97.84835890914421</c:v>
                </c:pt>
                <c:pt idx="153">
                  <c:v>103.98518978149473</c:v>
                </c:pt>
                <c:pt idx="154">
                  <c:v>110.80389075077306</c:v>
                </c:pt>
                <c:pt idx="155">
                  <c:v>117.96352676851534</c:v>
                </c:pt>
                <c:pt idx="156">
                  <c:v>125.46409783472151</c:v>
                </c:pt>
                <c:pt idx="157">
                  <c:v>133.64653899785552</c:v>
                </c:pt>
                <c:pt idx="158">
                  <c:v>142.16991520945345</c:v>
                </c:pt>
                <c:pt idx="159">
                  <c:v>151.37516151797922</c:v>
                </c:pt>
                <c:pt idx="160">
                  <c:v>161.2622779234328</c:v>
                </c:pt>
                <c:pt idx="161">
                  <c:v>171.49032937735032</c:v>
                </c:pt>
                <c:pt idx="162">
                  <c:v>182.74118597665961</c:v>
                </c:pt>
                <c:pt idx="163">
                  <c:v>194.33297762443277</c:v>
                </c:pt>
                <c:pt idx="164">
                  <c:v>206.94757441759774</c:v>
                </c:pt>
                <c:pt idx="165">
                  <c:v>220.24404130769048</c:v>
                </c:pt>
                <c:pt idx="166">
                  <c:v>234.22237829471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7EC-4377-A703-66357AD7E0B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15.001142132412353</c:v>
                </c:pt>
                <c:pt idx="123">
                  <c:v>15.683012229340189</c:v>
                </c:pt>
                <c:pt idx="124">
                  <c:v>16.705817374731939</c:v>
                </c:pt>
                <c:pt idx="125">
                  <c:v>17.728622520123693</c:v>
                </c:pt>
                <c:pt idx="126">
                  <c:v>18.75142766551544</c:v>
                </c:pt>
                <c:pt idx="127">
                  <c:v>20.115167859371113</c:v>
                </c:pt>
                <c:pt idx="128">
                  <c:v>21.478908053226778</c:v>
                </c:pt>
                <c:pt idx="129">
                  <c:v>23.183583295546363</c:v>
                </c:pt>
                <c:pt idx="130">
                  <c:v>24.547323489402032</c:v>
                </c:pt>
                <c:pt idx="131">
                  <c:v>25.911063683257701</c:v>
                </c:pt>
                <c:pt idx="132">
                  <c:v>27.615738925577286</c:v>
                </c:pt>
                <c:pt idx="133">
                  <c:v>30.002284264824706</c:v>
                </c:pt>
                <c:pt idx="134">
                  <c:v>32.729764652536048</c:v>
                </c:pt>
                <c:pt idx="135">
                  <c:v>35.457245040247386</c:v>
                </c:pt>
                <c:pt idx="136">
                  <c:v>38.184725427958718</c:v>
                </c:pt>
                <c:pt idx="137">
                  <c:v>41.594075912597894</c:v>
                </c:pt>
                <c:pt idx="138">
                  <c:v>45.344361445700976</c:v>
                </c:pt>
                <c:pt idx="139">
                  <c:v>49.776517075731903</c:v>
                </c:pt>
                <c:pt idx="140">
                  <c:v>54.208672705762829</c:v>
                </c:pt>
                <c:pt idx="141">
                  <c:v>58.981763384257668</c:v>
                </c:pt>
                <c:pt idx="142">
                  <c:v>64.436724159680338</c:v>
                </c:pt>
                <c:pt idx="143">
                  <c:v>70.573555032030853</c:v>
                </c:pt>
                <c:pt idx="144">
                  <c:v>77.051320952845273</c:v>
                </c:pt>
                <c:pt idx="145">
                  <c:v>84.210956970587532</c:v>
                </c:pt>
                <c:pt idx="146">
                  <c:v>91.711528036793709</c:v>
                </c:pt>
                <c:pt idx="147">
                  <c:v>100.23490424839164</c:v>
                </c:pt>
                <c:pt idx="148">
                  <c:v>109.09921550845348</c:v>
                </c:pt>
                <c:pt idx="149">
                  <c:v>118.98633191390708</c:v>
                </c:pt>
                <c:pt idx="150">
                  <c:v>129.89625346475242</c:v>
                </c:pt>
                <c:pt idx="151">
                  <c:v>141.82898016098954</c:v>
                </c:pt>
                <c:pt idx="152">
                  <c:v>154.78451200261838</c:v>
                </c:pt>
                <c:pt idx="153">
                  <c:v>168.76284898963897</c:v>
                </c:pt>
                <c:pt idx="154">
                  <c:v>181.71838083126784</c:v>
                </c:pt>
                <c:pt idx="155">
                  <c:v>195.01484772136058</c:v>
                </c:pt>
                <c:pt idx="156">
                  <c:v>208.65224965991729</c:v>
                </c:pt>
                <c:pt idx="157">
                  <c:v>223.31245674386571</c:v>
                </c:pt>
                <c:pt idx="158">
                  <c:v>238.31359887627806</c:v>
                </c:pt>
                <c:pt idx="159">
                  <c:v>253.65567605715435</c:v>
                </c:pt>
                <c:pt idx="160">
                  <c:v>268.99775323803061</c:v>
                </c:pt>
                <c:pt idx="161">
                  <c:v>286.38544070969039</c:v>
                </c:pt>
                <c:pt idx="162">
                  <c:v>305.13686837520584</c:v>
                </c:pt>
                <c:pt idx="163">
                  <c:v>325.25203623457691</c:v>
                </c:pt>
                <c:pt idx="164">
                  <c:v>346.0490741908759</c:v>
                </c:pt>
                <c:pt idx="165">
                  <c:v>367.86891729256655</c:v>
                </c:pt>
                <c:pt idx="166">
                  <c:v>390.71156553964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7EC-4377-A703-66357AD7E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22</c:v>
                </c:pt>
                <c:pt idx="1">
                  <c:v>47</c:v>
                </c:pt>
                <c:pt idx="2">
                  <c:v>232</c:v>
                </c:pt>
                <c:pt idx="3">
                  <c:v>250</c:v>
                </c:pt>
                <c:pt idx="4">
                  <c:v>165</c:v>
                </c:pt>
                <c:pt idx="5">
                  <c:v>153</c:v>
                </c:pt>
                <c:pt idx="6">
                  <c:v>123</c:v>
                </c:pt>
                <c:pt idx="7">
                  <c:v>76</c:v>
                </c:pt>
                <c:pt idx="8">
                  <c:v>20</c:v>
                </c:pt>
                <c:pt idx="9">
                  <c:v>149</c:v>
                </c:pt>
                <c:pt idx="10">
                  <c:v>106</c:v>
                </c:pt>
                <c:pt idx="11">
                  <c:v>120</c:v>
                </c:pt>
                <c:pt idx="12">
                  <c:v>87</c:v>
                </c:pt>
                <c:pt idx="13">
                  <c:v>107</c:v>
                </c:pt>
                <c:pt idx="14">
                  <c:v>43</c:v>
                </c:pt>
                <c:pt idx="15">
                  <c:v>21</c:v>
                </c:pt>
                <c:pt idx="16">
                  <c:v>101</c:v>
                </c:pt>
                <c:pt idx="17">
                  <c:v>80</c:v>
                </c:pt>
                <c:pt idx="18">
                  <c:v>57</c:v>
                </c:pt>
                <c:pt idx="19">
                  <c:v>46</c:v>
                </c:pt>
                <c:pt idx="20">
                  <c:v>41</c:v>
                </c:pt>
                <c:pt idx="21">
                  <c:v>14</c:v>
                </c:pt>
                <c:pt idx="22">
                  <c:v>20</c:v>
                </c:pt>
                <c:pt idx="23">
                  <c:v>66</c:v>
                </c:pt>
                <c:pt idx="24">
                  <c:v>52</c:v>
                </c:pt>
                <c:pt idx="25">
                  <c:v>41</c:v>
                </c:pt>
                <c:pt idx="26">
                  <c:v>36</c:v>
                </c:pt>
                <c:pt idx="27">
                  <c:v>44</c:v>
                </c:pt>
                <c:pt idx="28">
                  <c:v>16</c:v>
                </c:pt>
                <c:pt idx="29">
                  <c:v>2</c:v>
                </c:pt>
                <c:pt idx="30">
                  <c:v>45</c:v>
                </c:pt>
                <c:pt idx="31">
                  <c:v>35</c:v>
                </c:pt>
                <c:pt idx="32">
                  <c:v>19</c:v>
                </c:pt>
                <c:pt idx="33">
                  <c:v>18</c:v>
                </c:pt>
                <c:pt idx="34">
                  <c:v>16</c:v>
                </c:pt>
                <c:pt idx="35">
                  <c:v>21</c:v>
                </c:pt>
                <c:pt idx="36">
                  <c:v>1</c:v>
                </c:pt>
                <c:pt idx="37">
                  <c:v>19</c:v>
                </c:pt>
                <c:pt idx="38">
                  <c:v>24</c:v>
                </c:pt>
                <c:pt idx="39">
                  <c:v>13</c:v>
                </c:pt>
                <c:pt idx="40">
                  <c:v>14</c:v>
                </c:pt>
                <c:pt idx="41">
                  <c:v>8</c:v>
                </c:pt>
                <c:pt idx="42">
                  <c:v>0</c:v>
                </c:pt>
                <c:pt idx="43">
                  <c:v>1</c:v>
                </c:pt>
                <c:pt idx="44">
                  <c:v>12</c:v>
                </c:pt>
                <c:pt idx="45">
                  <c:v>8</c:v>
                </c:pt>
                <c:pt idx="46">
                  <c:v>7</c:v>
                </c:pt>
                <c:pt idx="47">
                  <c:v>5</c:v>
                </c:pt>
                <c:pt idx="48">
                  <c:v>8</c:v>
                </c:pt>
                <c:pt idx="49">
                  <c:v>3</c:v>
                </c:pt>
                <c:pt idx="50">
                  <c:v>0</c:v>
                </c:pt>
                <c:pt idx="51">
                  <c:v>0</c:v>
                </c:pt>
                <c:pt idx="52">
                  <c:v>9</c:v>
                </c:pt>
                <c:pt idx="53">
                  <c:v>2</c:v>
                </c:pt>
                <c:pt idx="54">
                  <c:v>3</c:v>
                </c:pt>
                <c:pt idx="55">
                  <c:v>7</c:v>
                </c:pt>
                <c:pt idx="56">
                  <c:v>2</c:v>
                </c:pt>
                <c:pt idx="57">
                  <c:v>0</c:v>
                </c:pt>
                <c:pt idx="58">
                  <c:v>3</c:v>
                </c:pt>
                <c:pt idx="59">
                  <c:v>1</c:v>
                </c:pt>
                <c:pt idx="60">
                  <c:v>2</c:v>
                </c:pt>
                <c:pt idx="61">
                  <c:v>3</c:v>
                </c:pt>
                <c:pt idx="62">
                  <c:v>9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9</c:v>
                </c:pt>
                <c:pt idx="68">
                  <c:v>11</c:v>
                </c:pt>
                <c:pt idx="69">
                  <c:v>10</c:v>
                </c:pt>
                <c:pt idx="70">
                  <c:v>2</c:v>
                </c:pt>
                <c:pt idx="71">
                  <c:v>1</c:v>
                </c:pt>
                <c:pt idx="72">
                  <c:v>8</c:v>
                </c:pt>
                <c:pt idx="73">
                  <c:v>19</c:v>
                </c:pt>
                <c:pt idx="74">
                  <c:v>11</c:v>
                </c:pt>
                <c:pt idx="75">
                  <c:v>3</c:v>
                </c:pt>
                <c:pt idx="76">
                  <c:v>9</c:v>
                </c:pt>
                <c:pt idx="77">
                  <c:v>2</c:v>
                </c:pt>
                <c:pt idx="78">
                  <c:v>9</c:v>
                </c:pt>
                <c:pt idx="79">
                  <c:v>4</c:v>
                </c:pt>
                <c:pt idx="80">
                  <c:v>11</c:v>
                </c:pt>
                <c:pt idx="81">
                  <c:v>8</c:v>
                </c:pt>
                <c:pt idx="82">
                  <c:v>8</c:v>
                </c:pt>
                <c:pt idx="83">
                  <c:v>9</c:v>
                </c:pt>
                <c:pt idx="84">
                  <c:v>5</c:v>
                </c:pt>
                <c:pt idx="85">
                  <c:v>1</c:v>
                </c:pt>
                <c:pt idx="86">
                  <c:v>15</c:v>
                </c:pt>
                <c:pt idx="87">
                  <c:v>11</c:v>
                </c:pt>
                <c:pt idx="88">
                  <c:v>11</c:v>
                </c:pt>
                <c:pt idx="89">
                  <c:v>6</c:v>
                </c:pt>
                <c:pt idx="90">
                  <c:v>8</c:v>
                </c:pt>
                <c:pt idx="91">
                  <c:v>3</c:v>
                </c:pt>
                <c:pt idx="92">
                  <c:v>1</c:v>
                </c:pt>
                <c:pt idx="93">
                  <c:v>5</c:v>
                </c:pt>
                <c:pt idx="94">
                  <c:v>8</c:v>
                </c:pt>
                <c:pt idx="95">
                  <c:v>9</c:v>
                </c:pt>
                <c:pt idx="96">
                  <c:v>2</c:v>
                </c:pt>
                <c:pt idx="97">
                  <c:v>6</c:v>
                </c:pt>
                <c:pt idx="98">
                  <c:v>6</c:v>
                </c:pt>
                <c:pt idx="99">
                  <c:v>7</c:v>
                </c:pt>
                <c:pt idx="100">
                  <c:v>10</c:v>
                </c:pt>
                <c:pt idx="101">
                  <c:v>12</c:v>
                </c:pt>
                <c:pt idx="102">
                  <c:v>4</c:v>
                </c:pt>
                <c:pt idx="103">
                  <c:v>6</c:v>
                </c:pt>
                <c:pt idx="104">
                  <c:v>12</c:v>
                </c:pt>
                <c:pt idx="105">
                  <c:v>10</c:v>
                </c:pt>
                <c:pt idx="106">
                  <c:v>1</c:v>
                </c:pt>
                <c:pt idx="107">
                  <c:v>7</c:v>
                </c:pt>
                <c:pt idx="108">
                  <c:v>16</c:v>
                </c:pt>
                <c:pt idx="109">
                  <c:v>6</c:v>
                </c:pt>
                <c:pt idx="110">
                  <c:v>7</c:v>
                </c:pt>
                <c:pt idx="111">
                  <c:v>7</c:v>
                </c:pt>
                <c:pt idx="112">
                  <c:v>13</c:v>
                </c:pt>
                <c:pt idx="113">
                  <c:v>9</c:v>
                </c:pt>
                <c:pt idx="114">
                  <c:v>9</c:v>
                </c:pt>
                <c:pt idx="115">
                  <c:v>4</c:v>
                </c:pt>
                <c:pt idx="116">
                  <c:v>15</c:v>
                </c:pt>
                <c:pt idx="117">
                  <c:v>5</c:v>
                </c:pt>
                <c:pt idx="118">
                  <c:v>12</c:v>
                </c:pt>
                <c:pt idx="119">
                  <c:v>6</c:v>
                </c:pt>
                <c:pt idx="120">
                  <c:v>4</c:v>
                </c:pt>
                <c:pt idx="121">
                  <c:v>20</c:v>
                </c:pt>
                <c:pt idx="122">
                  <c:v>13</c:v>
                </c:pt>
                <c:pt idx="123">
                  <c:v>19</c:v>
                </c:pt>
                <c:pt idx="124">
                  <c:v>13</c:v>
                </c:pt>
                <c:pt idx="125">
                  <c:v>18</c:v>
                </c:pt>
                <c:pt idx="126">
                  <c:v>23</c:v>
                </c:pt>
                <c:pt idx="127">
                  <c:v>7</c:v>
                </c:pt>
                <c:pt idx="128">
                  <c:v>35</c:v>
                </c:pt>
                <c:pt idx="129">
                  <c:v>28</c:v>
                </c:pt>
                <c:pt idx="130">
                  <c:v>20</c:v>
                </c:pt>
                <c:pt idx="131">
                  <c:v>21</c:v>
                </c:pt>
                <c:pt idx="132">
                  <c:v>23</c:v>
                </c:pt>
                <c:pt idx="133">
                  <c:v>8</c:v>
                </c:pt>
                <c:pt idx="134">
                  <c:v>9</c:v>
                </c:pt>
                <c:pt idx="135">
                  <c:v>19</c:v>
                </c:pt>
                <c:pt idx="136">
                  <c:v>27</c:v>
                </c:pt>
                <c:pt idx="137">
                  <c:v>29</c:v>
                </c:pt>
                <c:pt idx="138">
                  <c:v>27</c:v>
                </c:pt>
                <c:pt idx="139">
                  <c:v>26</c:v>
                </c:pt>
                <c:pt idx="140">
                  <c:v>16</c:v>
                </c:pt>
                <c:pt idx="141">
                  <c:v>14</c:v>
                </c:pt>
                <c:pt idx="142">
                  <c:v>24</c:v>
                </c:pt>
                <c:pt idx="143">
                  <c:v>28</c:v>
                </c:pt>
                <c:pt idx="144">
                  <c:v>17</c:v>
                </c:pt>
                <c:pt idx="145">
                  <c:v>22</c:v>
                </c:pt>
                <c:pt idx="146">
                  <c:v>25</c:v>
                </c:pt>
                <c:pt idx="147">
                  <c:v>23</c:v>
                </c:pt>
                <c:pt idx="148">
                  <c:v>10</c:v>
                </c:pt>
                <c:pt idx="149">
                  <c:v>37</c:v>
                </c:pt>
                <c:pt idx="150">
                  <c:v>37</c:v>
                </c:pt>
                <c:pt idx="151">
                  <c:v>49</c:v>
                </c:pt>
                <c:pt idx="152">
                  <c:v>58</c:v>
                </c:pt>
                <c:pt idx="153">
                  <c:v>43</c:v>
                </c:pt>
                <c:pt idx="154">
                  <c:v>36</c:v>
                </c:pt>
                <c:pt idx="155">
                  <c:v>16</c:v>
                </c:pt>
                <c:pt idx="156">
                  <c:v>41</c:v>
                </c:pt>
                <c:pt idx="157">
                  <c:v>43</c:v>
                </c:pt>
                <c:pt idx="158">
                  <c:v>51</c:v>
                </c:pt>
                <c:pt idx="159">
                  <c:v>37</c:v>
                </c:pt>
                <c:pt idx="160">
                  <c:v>40</c:v>
                </c:pt>
                <c:pt idx="161">
                  <c:v>29</c:v>
                </c:pt>
                <c:pt idx="162">
                  <c:v>25</c:v>
                </c:pt>
                <c:pt idx="163">
                  <c:v>70</c:v>
                </c:pt>
                <c:pt idx="164">
                  <c:v>58</c:v>
                </c:pt>
                <c:pt idx="165">
                  <c:v>52</c:v>
                </c:pt>
                <c:pt idx="166">
                  <c:v>64</c:v>
                </c:pt>
                <c:pt idx="167">
                  <c:v>64</c:v>
                </c:pt>
                <c:pt idx="168">
                  <c:v>43</c:v>
                </c:pt>
                <c:pt idx="169">
                  <c:v>25</c:v>
                </c:pt>
                <c:pt idx="170">
                  <c:v>95</c:v>
                </c:pt>
                <c:pt idx="171">
                  <c:v>130</c:v>
                </c:pt>
                <c:pt idx="172">
                  <c:v>118</c:v>
                </c:pt>
                <c:pt idx="173">
                  <c:v>114</c:v>
                </c:pt>
                <c:pt idx="174">
                  <c:v>122</c:v>
                </c:pt>
                <c:pt idx="175">
                  <c:v>127</c:v>
                </c:pt>
                <c:pt idx="176">
                  <c:v>75</c:v>
                </c:pt>
                <c:pt idx="177">
                  <c:v>166</c:v>
                </c:pt>
                <c:pt idx="178">
                  <c:v>226</c:v>
                </c:pt>
                <c:pt idx="179">
                  <c:v>207</c:v>
                </c:pt>
                <c:pt idx="180">
                  <c:v>210</c:v>
                </c:pt>
                <c:pt idx="181">
                  <c:v>171</c:v>
                </c:pt>
                <c:pt idx="182">
                  <c:v>286</c:v>
                </c:pt>
                <c:pt idx="183">
                  <c:v>125</c:v>
                </c:pt>
                <c:pt idx="184">
                  <c:v>232</c:v>
                </c:pt>
                <c:pt idx="185">
                  <c:v>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BA-4C71-B75C-6521C77AE7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48</c:v>
                </c:pt>
                <c:pt idx="154">
                  <c:v>50</c:v>
                </c:pt>
                <c:pt idx="155">
                  <c:v>52</c:v>
                </c:pt>
                <c:pt idx="156">
                  <c:v>54</c:v>
                </c:pt>
                <c:pt idx="157">
                  <c:v>56</c:v>
                </c:pt>
                <c:pt idx="158">
                  <c:v>58</c:v>
                </c:pt>
                <c:pt idx="159">
                  <c:v>60</c:v>
                </c:pt>
                <c:pt idx="160">
                  <c:v>62</c:v>
                </c:pt>
                <c:pt idx="161">
                  <c:v>65</c:v>
                </c:pt>
                <c:pt idx="162">
                  <c:v>67</c:v>
                </c:pt>
                <c:pt idx="163">
                  <c:v>70</c:v>
                </c:pt>
                <c:pt idx="164">
                  <c:v>72</c:v>
                </c:pt>
                <c:pt idx="165">
                  <c:v>75</c:v>
                </c:pt>
                <c:pt idx="166">
                  <c:v>78</c:v>
                </c:pt>
                <c:pt idx="167">
                  <c:v>80</c:v>
                </c:pt>
                <c:pt idx="168">
                  <c:v>83</c:v>
                </c:pt>
                <c:pt idx="169">
                  <c:v>86</c:v>
                </c:pt>
                <c:pt idx="170">
                  <c:v>90</c:v>
                </c:pt>
                <c:pt idx="171">
                  <c:v>93</c:v>
                </c:pt>
                <c:pt idx="172">
                  <c:v>96</c:v>
                </c:pt>
                <c:pt idx="173">
                  <c:v>100</c:v>
                </c:pt>
                <c:pt idx="174">
                  <c:v>103</c:v>
                </c:pt>
                <c:pt idx="175">
                  <c:v>107</c:v>
                </c:pt>
                <c:pt idx="176">
                  <c:v>111</c:v>
                </c:pt>
                <c:pt idx="177">
                  <c:v>115</c:v>
                </c:pt>
                <c:pt idx="178">
                  <c:v>119</c:v>
                </c:pt>
                <c:pt idx="179">
                  <c:v>123</c:v>
                </c:pt>
                <c:pt idx="180">
                  <c:v>127</c:v>
                </c:pt>
                <c:pt idx="181">
                  <c:v>132</c:v>
                </c:pt>
                <c:pt idx="182">
                  <c:v>137</c:v>
                </c:pt>
                <c:pt idx="183">
                  <c:v>142</c:v>
                </c:pt>
                <c:pt idx="184">
                  <c:v>147</c:v>
                </c:pt>
                <c:pt idx="185">
                  <c:v>152</c:v>
                </c:pt>
                <c:pt idx="186">
                  <c:v>157</c:v>
                </c:pt>
                <c:pt idx="187">
                  <c:v>163</c:v>
                </c:pt>
                <c:pt idx="188">
                  <c:v>168</c:v>
                </c:pt>
                <c:pt idx="189">
                  <c:v>174</c:v>
                </c:pt>
                <c:pt idx="190">
                  <c:v>180</c:v>
                </c:pt>
                <c:pt idx="191">
                  <c:v>187</c:v>
                </c:pt>
                <c:pt idx="192">
                  <c:v>193</c:v>
                </c:pt>
                <c:pt idx="193">
                  <c:v>200</c:v>
                </c:pt>
                <c:pt idx="194">
                  <c:v>207</c:v>
                </c:pt>
                <c:pt idx="195">
                  <c:v>214</c:v>
                </c:pt>
                <c:pt idx="196">
                  <c:v>222</c:v>
                </c:pt>
                <c:pt idx="197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2BA-4C71-B75C-6521C77AE78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50</c:v>
                </c:pt>
                <c:pt idx="154">
                  <c:v>53</c:v>
                </c:pt>
                <c:pt idx="155">
                  <c:v>55</c:v>
                </c:pt>
                <c:pt idx="156">
                  <c:v>58</c:v>
                </c:pt>
                <c:pt idx="157">
                  <c:v>61</c:v>
                </c:pt>
                <c:pt idx="158">
                  <c:v>64</c:v>
                </c:pt>
                <c:pt idx="159">
                  <c:v>68</c:v>
                </c:pt>
                <c:pt idx="160">
                  <c:v>71</c:v>
                </c:pt>
                <c:pt idx="161">
                  <c:v>75</c:v>
                </c:pt>
                <c:pt idx="162">
                  <c:v>79</c:v>
                </c:pt>
                <c:pt idx="163">
                  <c:v>83</c:v>
                </c:pt>
                <c:pt idx="164">
                  <c:v>87</c:v>
                </c:pt>
                <c:pt idx="165">
                  <c:v>92</c:v>
                </c:pt>
                <c:pt idx="166">
                  <c:v>96</c:v>
                </c:pt>
                <c:pt idx="167">
                  <c:v>101</c:v>
                </c:pt>
                <c:pt idx="168">
                  <c:v>106</c:v>
                </c:pt>
                <c:pt idx="169">
                  <c:v>112</c:v>
                </c:pt>
                <c:pt idx="170">
                  <c:v>117</c:v>
                </c:pt>
                <c:pt idx="171">
                  <c:v>124</c:v>
                </c:pt>
                <c:pt idx="172">
                  <c:v>130</c:v>
                </c:pt>
                <c:pt idx="173">
                  <c:v>136</c:v>
                </c:pt>
                <c:pt idx="174">
                  <c:v>143</c:v>
                </c:pt>
                <c:pt idx="175">
                  <c:v>150</c:v>
                </c:pt>
                <c:pt idx="176">
                  <c:v>158</c:v>
                </c:pt>
                <c:pt idx="177">
                  <c:v>166</c:v>
                </c:pt>
                <c:pt idx="178">
                  <c:v>175</c:v>
                </c:pt>
                <c:pt idx="179">
                  <c:v>183</c:v>
                </c:pt>
                <c:pt idx="180">
                  <c:v>193</c:v>
                </c:pt>
                <c:pt idx="181">
                  <c:v>202</c:v>
                </c:pt>
                <c:pt idx="182">
                  <c:v>212</c:v>
                </c:pt>
                <c:pt idx="183">
                  <c:v>223</c:v>
                </c:pt>
                <c:pt idx="184">
                  <c:v>234</c:v>
                </c:pt>
                <c:pt idx="185">
                  <c:v>246</c:v>
                </c:pt>
                <c:pt idx="186">
                  <c:v>258</c:v>
                </c:pt>
                <c:pt idx="187">
                  <c:v>271</c:v>
                </c:pt>
                <c:pt idx="188">
                  <c:v>285</c:v>
                </c:pt>
                <c:pt idx="189">
                  <c:v>299</c:v>
                </c:pt>
                <c:pt idx="190">
                  <c:v>314</c:v>
                </c:pt>
                <c:pt idx="191">
                  <c:v>329</c:v>
                </c:pt>
                <c:pt idx="192">
                  <c:v>346</c:v>
                </c:pt>
                <c:pt idx="193">
                  <c:v>363</c:v>
                </c:pt>
                <c:pt idx="194">
                  <c:v>381</c:v>
                </c:pt>
                <c:pt idx="195">
                  <c:v>400</c:v>
                </c:pt>
                <c:pt idx="196">
                  <c:v>420</c:v>
                </c:pt>
                <c:pt idx="197">
                  <c:v>4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BA-4C71-B75C-6521C77AE78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52</c:v>
                </c:pt>
                <c:pt idx="154">
                  <c:v>56</c:v>
                </c:pt>
                <c:pt idx="155">
                  <c:v>59</c:v>
                </c:pt>
                <c:pt idx="156">
                  <c:v>62</c:v>
                </c:pt>
                <c:pt idx="157">
                  <c:v>66</c:v>
                </c:pt>
                <c:pt idx="158">
                  <c:v>70</c:v>
                </c:pt>
                <c:pt idx="159">
                  <c:v>75</c:v>
                </c:pt>
                <c:pt idx="160">
                  <c:v>81</c:v>
                </c:pt>
                <c:pt idx="161">
                  <c:v>86</c:v>
                </c:pt>
                <c:pt idx="162">
                  <c:v>91</c:v>
                </c:pt>
                <c:pt idx="163">
                  <c:v>97</c:v>
                </c:pt>
                <c:pt idx="164">
                  <c:v>104</c:v>
                </c:pt>
                <c:pt idx="165">
                  <c:v>111</c:v>
                </c:pt>
                <c:pt idx="166">
                  <c:v>118</c:v>
                </c:pt>
                <c:pt idx="167">
                  <c:v>125</c:v>
                </c:pt>
                <c:pt idx="168">
                  <c:v>133</c:v>
                </c:pt>
                <c:pt idx="169">
                  <c:v>142</c:v>
                </c:pt>
                <c:pt idx="170">
                  <c:v>151</c:v>
                </c:pt>
                <c:pt idx="171">
                  <c:v>161</c:v>
                </c:pt>
                <c:pt idx="172">
                  <c:v>172</c:v>
                </c:pt>
                <c:pt idx="173">
                  <c:v>183</c:v>
                </c:pt>
                <c:pt idx="174">
                  <c:v>195</c:v>
                </c:pt>
                <c:pt idx="175">
                  <c:v>207</c:v>
                </c:pt>
                <c:pt idx="176">
                  <c:v>221</c:v>
                </c:pt>
                <c:pt idx="177">
                  <c:v>235</c:v>
                </c:pt>
                <c:pt idx="178">
                  <c:v>250</c:v>
                </c:pt>
                <c:pt idx="179">
                  <c:v>266</c:v>
                </c:pt>
                <c:pt idx="180">
                  <c:v>283</c:v>
                </c:pt>
                <c:pt idx="181">
                  <c:v>301</c:v>
                </c:pt>
                <c:pt idx="182">
                  <c:v>321</c:v>
                </c:pt>
                <c:pt idx="183">
                  <c:v>341</c:v>
                </c:pt>
                <c:pt idx="184">
                  <c:v>363</c:v>
                </c:pt>
                <c:pt idx="185">
                  <c:v>387</c:v>
                </c:pt>
                <c:pt idx="186">
                  <c:v>411</c:v>
                </c:pt>
                <c:pt idx="187">
                  <c:v>438</c:v>
                </c:pt>
                <c:pt idx="188">
                  <c:v>466</c:v>
                </c:pt>
                <c:pt idx="189">
                  <c:v>496</c:v>
                </c:pt>
                <c:pt idx="190">
                  <c:v>527</c:v>
                </c:pt>
                <c:pt idx="191">
                  <c:v>561</c:v>
                </c:pt>
                <c:pt idx="192">
                  <c:v>597</c:v>
                </c:pt>
                <c:pt idx="193">
                  <c:v>635</c:v>
                </c:pt>
                <c:pt idx="194">
                  <c:v>676</c:v>
                </c:pt>
                <c:pt idx="195">
                  <c:v>719</c:v>
                </c:pt>
                <c:pt idx="196">
                  <c:v>765</c:v>
                </c:pt>
                <c:pt idx="197">
                  <c:v>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2BA-4C71-B75C-6521C77AE78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52</c:v>
                </c:pt>
                <c:pt idx="154">
                  <c:v>56</c:v>
                </c:pt>
                <c:pt idx="155">
                  <c:v>59</c:v>
                </c:pt>
                <c:pt idx="156">
                  <c:v>62</c:v>
                </c:pt>
                <c:pt idx="157">
                  <c:v>66</c:v>
                </c:pt>
                <c:pt idx="158">
                  <c:v>70</c:v>
                </c:pt>
                <c:pt idx="159">
                  <c:v>75</c:v>
                </c:pt>
                <c:pt idx="160">
                  <c:v>81</c:v>
                </c:pt>
                <c:pt idx="161">
                  <c:v>86</c:v>
                </c:pt>
                <c:pt idx="162">
                  <c:v>91</c:v>
                </c:pt>
                <c:pt idx="163">
                  <c:v>97</c:v>
                </c:pt>
                <c:pt idx="164">
                  <c:v>110</c:v>
                </c:pt>
                <c:pt idx="165">
                  <c:v>122</c:v>
                </c:pt>
                <c:pt idx="166">
                  <c:v>132</c:v>
                </c:pt>
                <c:pt idx="167">
                  <c:v>142</c:v>
                </c:pt>
                <c:pt idx="168">
                  <c:v>154</c:v>
                </c:pt>
                <c:pt idx="169">
                  <c:v>169</c:v>
                </c:pt>
                <c:pt idx="170">
                  <c:v>185</c:v>
                </c:pt>
                <c:pt idx="171">
                  <c:v>204</c:v>
                </c:pt>
                <c:pt idx="172">
                  <c:v>221</c:v>
                </c:pt>
                <c:pt idx="173">
                  <c:v>240</c:v>
                </c:pt>
                <c:pt idx="174">
                  <c:v>261</c:v>
                </c:pt>
                <c:pt idx="175">
                  <c:v>286</c:v>
                </c:pt>
                <c:pt idx="176">
                  <c:v>313</c:v>
                </c:pt>
                <c:pt idx="177">
                  <c:v>341</c:v>
                </c:pt>
                <c:pt idx="178">
                  <c:v>372</c:v>
                </c:pt>
                <c:pt idx="179">
                  <c:v>405</c:v>
                </c:pt>
                <c:pt idx="180">
                  <c:v>441</c:v>
                </c:pt>
                <c:pt idx="181">
                  <c:v>482</c:v>
                </c:pt>
                <c:pt idx="182">
                  <c:v>526</c:v>
                </c:pt>
                <c:pt idx="183">
                  <c:v>574</c:v>
                </c:pt>
                <c:pt idx="184">
                  <c:v>625</c:v>
                </c:pt>
                <c:pt idx="185">
                  <c:v>641</c:v>
                </c:pt>
                <c:pt idx="186">
                  <c:v>676</c:v>
                </c:pt>
                <c:pt idx="187">
                  <c:v>724</c:v>
                </c:pt>
                <c:pt idx="188">
                  <c:v>782</c:v>
                </c:pt>
                <c:pt idx="189">
                  <c:v>834</c:v>
                </c:pt>
                <c:pt idx="190">
                  <c:v>884</c:v>
                </c:pt>
                <c:pt idx="191">
                  <c:v>936</c:v>
                </c:pt>
                <c:pt idx="192">
                  <c:v>990</c:v>
                </c:pt>
                <c:pt idx="193">
                  <c:v>1057</c:v>
                </c:pt>
                <c:pt idx="194">
                  <c:v>1130</c:v>
                </c:pt>
                <c:pt idx="195">
                  <c:v>1204</c:v>
                </c:pt>
                <c:pt idx="196">
                  <c:v>1277</c:v>
                </c:pt>
                <c:pt idx="197">
                  <c:v>1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BA-4C71-B75C-6521C77AE7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E-47F1-A483-499E1EA87FD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6.805254319440294</c:v>
                </c:pt>
                <c:pt idx="1">
                  <c:v>24.112489045341274</c:v>
                </c:pt>
                <c:pt idx="2">
                  <c:v>21.909317457442068</c:v>
                </c:pt>
                <c:pt idx="3">
                  <c:v>18.48216165404331</c:v>
                </c:pt>
                <c:pt idx="4">
                  <c:v>19.094153761793088</c:v>
                </c:pt>
                <c:pt idx="5">
                  <c:v>18.971755340243131</c:v>
                </c:pt>
                <c:pt idx="6">
                  <c:v>15.789396379944282</c:v>
                </c:pt>
                <c:pt idx="7">
                  <c:v>14.443013742894772</c:v>
                </c:pt>
                <c:pt idx="8">
                  <c:v>13.708623213595038</c:v>
                </c:pt>
                <c:pt idx="9">
                  <c:v>13.219029527395215</c:v>
                </c:pt>
                <c:pt idx="10">
                  <c:v>12.239842154995568</c:v>
                </c:pt>
                <c:pt idx="11">
                  <c:v>9.6694753024465001</c:v>
                </c:pt>
                <c:pt idx="12">
                  <c:v>9.6694753024465001</c:v>
                </c:pt>
                <c:pt idx="13">
                  <c:v>8.8126863515968097</c:v>
                </c:pt>
                <c:pt idx="14">
                  <c:v>6.8543116067975189</c:v>
                </c:pt>
                <c:pt idx="15">
                  <c:v>6.1199210774977839</c:v>
                </c:pt>
                <c:pt idx="16">
                  <c:v>5.0183352835481836</c:v>
                </c:pt>
                <c:pt idx="17">
                  <c:v>5.0183352835481836</c:v>
                </c:pt>
                <c:pt idx="18">
                  <c:v>5.3855305481980507</c:v>
                </c:pt>
                <c:pt idx="19">
                  <c:v>5.2631321266480944</c:v>
                </c:pt>
                <c:pt idx="20">
                  <c:v>3.7943510680486265</c:v>
                </c:pt>
                <c:pt idx="21">
                  <c:v>3.9167494895985819</c:v>
                </c:pt>
                <c:pt idx="22">
                  <c:v>3.3047573818488036</c:v>
                </c:pt>
                <c:pt idx="23">
                  <c:v>3.059960538748892</c:v>
                </c:pt>
                <c:pt idx="24">
                  <c:v>2.9375621171989366</c:v>
                </c:pt>
                <c:pt idx="25">
                  <c:v>2.8151636956489807</c:v>
                </c:pt>
                <c:pt idx="26">
                  <c:v>2.8151636956489807</c:v>
                </c:pt>
                <c:pt idx="27">
                  <c:v>3.1823589602988478</c:v>
                </c:pt>
                <c:pt idx="28">
                  <c:v>2.2031715878992024</c:v>
                </c:pt>
                <c:pt idx="29">
                  <c:v>2.2031715878992024</c:v>
                </c:pt>
                <c:pt idx="30">
                  <c:v>2.2031715878992024</c:v>
                </c:pt>
                <c:pt idx="31">
                  <c:v>2.4479684309991141</c:v>
                </c:pt>
                <c:pt idx="32">
                  <c:v>2.4479684309991141</c:v>
                </c:pt>
                <c:pt idx="33">
                  <c:v>2.6927652740990253</c:v>
                </c:pt>
                <c:pt idx="34">
                  <c:v>2.5703668525490695</c:v>
                </c:pt>
                <c:pt idx="35">
                  <c:v>2.8151636956489807</c:v>
                </c:pt>
                <c:pt idx="36">
                  <c:v>3.6719526464986711</c:v>
                </c:pt>
                <c:pt idx="37">
                  <c:v>4.6511400188983165</c:v>
                </c:pt>
                <c:pt idx="38">
                  <c:v>4.7735384404482719</c:v>
                </c:pt>
                <c:pt idx="39">
                  <c:v>4.7735384404482719</c:v>
                </c:pt>
                <c:pt idx="40">
                  <c:v>4.6511400188983165</c:v>
                </c:pt>
                <c:pt idx="41">
                  <c:v>5.3855305481980507</c:v>
                </c:pt>
                <c:pt idx="42">
                  <c:v>7.3439052929973423</c:v>
                </c:pt>
                <c:pt idx="43">
                  <c:v>7.5887021360972531</c:v>
                </c:pt>
                <c:pt idx="44">
                  <c:v>6.6095147636976073</c:v>
                </c:pt>
                <c:pt idx="45">
                  <c:v>6.4871163421476519</c:v>
                </c:pt>
                <c:pt idx="46">
                  <c:v>6.4871163421476519</c:v>
                </c:pt>
                <c:pt idx="47">
                  <c:v>7.4663037145472977</c:v>
                </c:pt>
                <c:pt idx="48">
                  <c:v>6.9767100283474743</c:v>
                </c:pt>
                <c:pt idx="49">
                  <c:v>5.9975226559478294</c:v>
                </c:pt>
                <c:pt idx="50">
                  <c:v>5.6303273912979614</c:v>
                </c:pt>
                <c:pt idx="51">
                  <c:v>6.2423194990477402</c:v>
                </c:pt>
                <c:pt idx="52">
                  <c:v>6.2423194990477402</c:v>
                </c:pt>
                <c:pt idx="53">
                  <c:v>6.6095147636976073</c:v>
                </c:pt>
                <c:pt idx="54">
                  <c:v>5.6303273912979614</c:v>
                </c:pt>
                <c:pt idx="55">
                  <c:v>6.9767100283474743</c:v>
                </c:pt>
                <c:pt idx="56">
                  <c:v>6.9767100283474743</c:v>
                </c:pt>
                <c:pt idx="57">
                  <c:v>7.3439052929973423</c:v>
                </c:pt>
                <c:pt idx="58">
                  <c:v>7.0991084498974306</c:v>
                </c:pt>
                <c:pt idx="59">
                  <c:v>6.9767100283474743</c:v>
                </c:pt>
                <c:pt idx="60">
                  <c:v>6.7319131852475627</c:v>
                </c:pt>
                <c:pt idx="61">
                  <c:v>6.7319131852475627</c:v>
                </c:pt>
                <c:pt idx="62">
                  <c:v>5.5079289697480061</c:v>
                </c:pt>
                <c:pt idx="63">
                  <c:v>5.140733705098139</c:v>
                </c:pt>
                <c:pt idx="64">
                  <c:v>4.8959368619982282</c:v>
                </c:pt>
                <c:pt idx="65">
                  <c:v>4.4063431757984048</c:v>
                </c:pt>
                <c:pt idx="66">
                  <c:v>4.1615463326984932</c:v>
                </c:pt>
                <c:pt idx="67">
                  <c:v>4.5287415973483602</c:v>
                </c:pt>
                <c:pt idx="68">
                  <c:v>5.2631321266480944</c:v>
                </c:pt>
                <c:pt idx="69">
                  <c:v>5.8751242343978731</c:v>
                </c:pt>
                <c:pt idx="70">
                  <c:v>6.3647179205976956</c:v>
                </c:pt>
                <c:pt idx="71">
                  <c:v>5.7527258128479177</c:v>
                </c:pt>
                <c:pt idx="72">
                  <c:v>6.2423194990477402</c:v>
                </c:pt>
                <c:pt idx="73">
                  <c:v>6.9767100283474743</c:v>
                </c:pt>
                <c:pt idx="74">
                  <c:v>7.4663037145472977</c:v>
                </c:pt>
                <c:pt idx="75">
                  <c:v>6.7319131852475627</c:v>
                </c:pt>
                <c:pt idx="76">
                  <c:v>6.3647179205976956</c:v>
                </c:pt>
                <c:pt idx="77">
                  <c:v>6.8543116067975189</c:v>
                </c:pt>
                <c:pt idx="78">
                  <c:v>7.0991084498974306</c:v>
                </c:pt>
                <c:pt idx="79">
                  <c:v>7.221506871447386</c:v>
                </c:pt>
                <c:pt idx="80">
                  <c:v>6.6095147636976073</c:v>
                </c:pt>
                <c:pt idx="81">
                  <c:v>6.9767100283474743</c:v>
                </c:pt>
                <c:pt idx="82">
                  <c:v>7.9558974007471193</c:v>
                </c:pt>
                <c:pt idx="83">
                  <c:v>8.2006942438470301</c:v>
                </c:pt>
                <c:pt idx="84">
                  <c:v>6.7319131852475627</c:v>
                </c:pt>
                <c:pt idx="85">
                  <c:v>7.8334989791971639</c:v>
                </c:pt>
                <c:pt idx="86">
                  <c:v>7.5887021360972531</c:v>
                </c:pt>
                <c:pt idx="87">
                  <c:v>8.2006942438470301</c:v>
                </c:pt>
                <c:pt idx="88">
                  <c:v>7.3439052929973423</c:v>
                </c:pt>
                <c:pt idx="89">
                  <c:v>6.7319131852475627</c:v>
                </c:pt>
                <c:pt idx="90">
                  <c:v>8.0782958222970755</c:v>
                </c:pt>
                <c:pt idx="91">
                  <c:v>9.1798816162466768</c:v>
                </c:pt>
                <c:pt idx="92">
                  <c:v>9.6694753024465001</c:v>
                </c:pt>
                <c:pt idx="93">
                  <c:v>10.648662674846145</c:v>
                </c:pt>
                <c:pt idx="94">
                  <c:v>11.383053204145879</c:v>
                </c:pt>
                <c:pt idx="95">
                  <c:v>13.463826370495125</c:v>
                </c:pt>
                <c:pt idx="96">
                  <c:v>13.831021635144994</c:v>
                </c:pt>
                <c:pt idx="97">
                  <c:v>15.666997958394328</c:v>
                </c:pt>
                <c:pt idx="98">
                  <c:v>17.502974281643663</c:v>
                </c:pt>
                <c:pt idx="99">
                  <c:v>17.625372703193619</c:v>
                </c:pt>
                <c:pt idx="100">
                  <c:v>18.604560075593266</c:v>
                </c:pt>
                <c:pt idx="101">
                  <c:v>19.216552183343044</c:v>
                </c:pt>
                <c:pt idx="102">
                  <c:v>17.380575860093707</c:v>
                </c:pt>
                <c:pt idx="103">
                  <c:v>17.625372703193619</c:v>
                </c:pt>
                <c:pt idx="104">
                  <c:v>15.666997958394328</c:v>
                </c:pt>
                <c:pt idx="105">
                  <c:v>15.544599536844375</c:v>
                </c:pt>
                <c:pt idx="106">
                  <c:v>16.646185330793973</c:v>
                </c:pt>
                <c:pt idx="107">
                  <c:v>17.380575860093707</c:v>
                </c:pt>
                <c:pt idx="108">
                  <c:v>17.747771124743576</c:v>
                </c:pt>
                <c:pt idx="109">
                  <c:v>18.726958497143222</c:v>
                </c:pt>
                <c:pt idx="110">
                  <c:v>19.338950604893</c:v>
                </c:pt>
                <c:pt idx="111">
                  <c:v>19.950942712642778</c:v>
                </c:pt>
                <c:pt idx="112">
                  <c:v>20.073341134192734</c:v>
                </c:pt>
                <c:pt idx="113">
                  <c:v>18.604560075593266</c:v>
                </c:pt>
                <c:pt idx="114">
                  <c:v>17.992567967843488</c:v>
                </c:pt>
                <c:pt idx="115">
                  <c:v>17.870169546293532</c:v>
                </c:pt>
                <c:pt idx="116">
                  <c:v>18.726958497143222</c:v>
                </c:pt>
                <c:pt idx="117">
                  <c:v>18.237364810943397</c:v>
                </c:pt>
                <c:pt idx="118">
                  <c:v>19.828544291092822</c:v>
                </c:pt>
                <c:pt idx="119">
                  <c:v>20.930130085042421</c:v>
                </c:pt>
                <c:pt idx="120">
                  <c:v>24.846879574641008</c:v>
                </c:pt>
                <c:pt idx="121">
                  <c:v>29.253222750439409</c:v>
                </c:pt>
                <c:pt idx="122">
                  <c:v>31.456394338338612</c:v>
                </c:pt>
                <c:pt idx="123">
                  <c:v>33.047573818488033</c:v>
                </c:pt>
                <c:pt idx="124">
                  <c:v>33.78196434778777</c:v>
                </c:pt>
                <c:pt idx="125">
                  <c:v>34.271558033987596</c:v>
                </c:pt>
                <c:pt idx="126">
                  <c:v>35.005948563287326</c:v>
                </c:pt>
                <c:pt idx="127">
                  <c:v>35.250745406387239</c:v>
                </c:pt>
                <c:pt idx="128">
                  <c:v>32.680378553838167</c:v>
                </c:pt>
                <c:pt idx="129">
                  <c:v>32.313183289188302</c:v>
                </c:pt>
                <c:pt idx="130">
                  <c:v>31.456394338338612</c:v>
                </c:pt>
                <c:pt idx="131">
                  <c:v>32.557980132288215</c:v>
                </c:pt>
                <c:pt idx="132">
                  <c:v>36.107534357236929</c:v>
                </c:pt>
                <c:pt idx="133">
                  <c:v>37.943510680486263</c:v>
                </c:pt>
                <c:pt idx="134">
                  <c:v>38.065909102036215</c:v>
                </c:pt>
                <c:pt idx="135">
                  <c:v>41.370666483885024</c:v>
                </c:pt>
                <c:pt idx="136">
                  <c:v>44.308228601083961</c:v>
                </c:pt>
                <c:pt idx="137">
                  <c:v>46.021806502783342</c:v>
                </c:pt>
                <c:pt idx="138">
                  <c:v>46.021806502783342</c:v>
                </c:pt>
                <c:pt idx="139">
                  <c:v>49.081767041532238</c:v>
                </c:pt>
                <c:pt idx="140">
                  <c:v>57.894453393129041</c:v>
                </c:pt>
                <c:pt idx="141">
                  <c:v>65.97274921542612</c:v>
                </c:pt>
                <c:pt idx="142">
                  <c:v>72.092670292923899</c:v>
                </c:pt>
                <c:pt idx="143">
                  <c:v>79.191778742821327</c:v>
                </c:pt>
                <c:pt idx="144">
                  <c:v>89.473246153017612</c:v>
                </c:pt>
                <c:pt idx="145">
                  <c:v>95.593167230515391</c:v>
                </c:pt>
                <c:pt idx="146">
                  <c:v>104.28345516056226</c:v>
                </c:pt>
                <c:pt idx="147">
                  <c:v>116.03370362935799</c:v>
                </c:pt>
                <c:pt idx="148">
                  <c:v>126.92716314730406</c:v>
                </c:pt>
                <c:pt idx="149">
                  <c:v>138.67741161609982</c:v>
                </c:pt>
                <c:pt idx="150">
                  <c:v>144.67493427204764</c:v>
                </c:pt>
                <c:pt idx="151">
                  <c:v>164.13628329849058</c:v>
                </c:pt>
                <c:pt idx="152">
                  <c:v>170.25620437598837</c:v>
                </c:pt>
                <c:pt idx="153">
                  <c:v>178.33450019828544</c:v>
                </c:pt>
                <c:pt idx="154">
                  <c:v>197.55105238162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1E-47F1-A483-499E1EA87F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29.498019593539322</c:v>
                </c:pt>
                <c:pt idx="123">
                  <c:v>30.599605387488925</c:v>
                </c:pt>
                <c:pt idx="124">
                  <c:v>31.823589602988477</c:v>
                </c:pt>
                <c:pt idx="125">
                  <c:v>33.047573818488033</c:v>
                </c:pt>
                <c:pt idx="126">
                  <c:v>34.393956455537548</c:v>
                </c:pt>
                <c:pt idx="127">
                  <c:v>35.617940671037111</c:v>
                </c:pt>
                <c:pt idx="128">
                  <c:v>36.96432330808662</c:v>
                </c:pt>
                <c:pt idx="129">
                  <c:v>38.433104366686088</c:v>
                </c:pt>
                <c:pt idx="130">
                  <c:v>39.901885425285556</c:v>
                </c:pt>
                <c:pt idx="131">
                  <c:v>41.370666483885024</c:v>
                </c:pt>
                <c:pt idx="132">
                  <c:v>42.961845964034453</c:v>
                </c:pt>
                <c:pt idx="133">
                  <c:v>44.553025444183874</c:v>
                </c:pt>
                <c:pt idx="134">
                  <c:v>46.266603345883254</c:v>
                </c:pt>
                <c:pt idx="135">
                  <c:v>47.980181247582635</c:v>
                </c:pt>
                <c:pt idx="136">
                  <c:v>49.693759149282016</c:v>
                </c:pt>
                <c:pt idx="137">
                  <c:v>51.529735472531343</c:v>
                </c:pt>
                <c:pt idx="138">
                  <c:v>53.365711795780683</c:v>
                </c:pt>
                <c:pt idx="139">
                  <c:v>55.324086540579977</c:v>
                </c:pt>
                <c:pt idx="140">
                  <c:v>57.282461285379263</c:v>
                </c:pt>
                <c:pt idx="141">
                  <c:v>59.363234451728509</c:v>
                </c:pt>
                <c:pt idx="142">
                  <c:v>61.566406039627708</c:v>
                </c:pt>
                <c:pt idx="143">
                  <c:v>63.891976049076874</c:v>
                </c:pt>
                <c:pt idx="144">
                  <c:v>66.21754605852604</c:v>
                </c:pt>
                <c:pt idx="145">
                  <c:v>68.665514489525137</c:v>
                </c:pt>
                <c:pt idx="146">
                  <c:v>71.113482920524248</c:v>
                </c:pt>
                <c:pt idx="147">
                  <c:v>73.68384977307332</c:v>
                </c:pt>
                <c:pt idx="148">
                  <c:v>76.376615047172351</c:v>
                </c:pt>
                <c:pt idx="149">
                  <c:v>79.069380321271382</c:v>
                </c:pt>
                <c:pt idx="150">
                  <c:v>81.884544016920358</c:v>
                </c:pt>
                <c:pt idx="151">
                  <c:v>84.822106134119295</c:v>
                </c:pt>
                <c:pt idx="152">
                  <c:v>87.759668251318232</c:v>
                </c:pt>
                <c:pt idx="153">
                  <c:v>90.819628790067114</c:v>
                </c:pt>
                <c:pt idx="154">
                  <c:v>94.12438617191593</c:v>
                </c:pt>
                <c:pt idx="155">
                  <c:v>97.429143553764732</c:v>
                </c:pt>
                <c:pt idx="156">
                  <c:v>100.85629935716348</c:v>
                </c:pt>
                <c:pt idx="157">
                  <c:v>104.40585358211221</c:v>
                </c:pt>
                <c:pt idx="158">
                  <c:v>108.07780622861087</c:v>
                </c:pt>
                <c:pt idx="159">
                  <c:v>111.99455571820945</c:v>
                </c:pt>
                <c:pt idx="160">
                  <c:v>116.03370362935799</c:v>
                </c:pt>
                <c:pt idx="161">
                  <c:v>120.07285154050653</c:v>
                </c:pt>
                <c:pt idx="162">
                  <c:v>124.23439787320501</c:v>
                </c:pt>
                <c:pt idx="163">
                  <c:v>128.64074104900342</c:v>
                </c:pt>
                <c:pt idx="164">
                  <c:v>133.16948264635178</c:v>
                </c:pt>
                <c:pt idx="165">
                  <c:v>137.82062266525011</c:v>
                </c:pt>
                <c:pt idx="166">
                  <c:v>142.59416110569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1E-47F1-A483-499E1EA87F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29.742816436639231</c:v>
                </c:pt>
                <c:pt idx="123">
                  <c:v>31.08919907368875</c:v>
                </c:pt>
                <c:pt idx="124">
                  <c:v>32.557980132288215</c:v>
                </c:pt>
                <c:pt idx="125">
                  <c:v>34.149159612437643</c:v>
                </c:pt>
                <c:pt idx="126">
                  <c:v>35.985135935686976</c:v>
                </c:pt>
                <c:pt idx="127">
                  <c:v>37.82111225893631</c:v>
                </c:pt>
                <c:pt idx="128">
                  <c:v>39.901885425285556</c:v>
                </c:pt>
                <c:pt idx="129">
                  <c:v>41.982658591634802</c:v>
                </c:pt>
                <c:pt idx="130">
                  <c:v>44.185830179534008</c:v>
                </c:pt>
                <c:pt idx="131">
                  <c:v>46.511400188983167</c:v>
                </c:pt>
                <c:pt idx="132">
                  <c:v>48.959368619982271</c:v>
                </c:pt>
                <c:pt idx="133">
                  <c:v>51.529735472531343</c:v>
                </c:pt>
                <c:pt idx="134">
                  <c:v>54.222500746630374</c:v>
                </c:pt>
                <c:pt idx="135">
                  <c:v>57.03766444227935</c:v>
                </c:pt>
                <c:pt idx="136">
                  <c:v>59.975226559478287</c:v>
                </c:pt>
                <c:pt idx="137">
                  <c:v>63.035187098227176</c:v>
                </c:pt>
                <c:pt idx="138">
                  <c:v>66.339944480075985</c:v>
                </c:pt>
                <c:pt idx="139">
                  <c:v>69.767100283474747</c:v>
                </c:pt>
                <c:pt idx="140">
                  <c:v>73.316654508423468</c:v>
                </c:pt>
                <c:pt idx="141">
                  <c:v>77.111005576472081</c:v>
                </c:pt>
                <c:pt idx="142">
                  <c:v>81.027755066070668</c:v>
                </c:pt>
                <c:pt idx="143">
                  <c:v>85.18930139876916</c:v>
                </c:pt>
                <c:pt idx="144">
                  <c:v>89.595644574567572</c:v>
                </c:pt>
                <c:pt idx="145">
                  <c:v>94.12438617191593</c:v>
                </c:pt>
                <c:pt idx="146">
                  <c:v>98.897924612364193</c:v>
                </c:pt>
                <c:pt idx="147">
                  <c:v>103.91625989591238</c:v>
                </c:pt>
                <c:pt idx="148">
                  <c:v>109.17939202256046</c:v>
                </c:pt>
                <c:pt idx="149">
                  <c:v>114.68732099230849</c:v>
                </c:pt>
                <c:pt idx="150">
                  <c:v>120.44004680515641</c:v>
                </c:pt>
                <c:pt idx="151">
                  <c:v>126.43756946110423</c:v>
                </c:pt>
                <c:pt idx="152">
                  <c:v>132.80228738170192</c:v>
                </c:pt>
                <c:pt idx="153">
                  <c:v>139.53420056694949</c:v>
                </c:pt>
                <c:pt idx="154">
                  <c:v>146.51091059529696</c:v>
                </c:pt>
                <c:pt idx="155">
                  <c:v>153.8548158882943</c:v>
                </c:pt>
                <c:pt idx="156">
                  <c:v>161.5659164459415</c:v>
                </c:pt>
                <c:pt idx="157">
                  <c:v>169.64421226823859</c:v>
                </c:pt>
                <c:pt idx="158">
                  <c:v>178.08970335518552</c:v>
                </c:pt>
                <c:pt idx="159">
                  <c:v>186.90238970678234</c:v>
                </c:pt>
                <c:pt idx="160">
                  <c:v>196.20466974457898</c:v>
                </c:pt>
                <c:pt idx="161">
                  <c:v>205.99654346857542</c:v>
                </c:pt>
                <c:pt idx="162">
                  <c:v>216.27801087877171</c:v>
                </c:pt>
                <c:pt idx="163">
                  <c:v>227.04907197516781</c:v>
                </c:pt>
                <c:pt idx="164">
                  <c:v>238.30972675776374</c:v>
                </c:pt>
                <c:pt idx="165">
                  <c:v>250.18237364810943</c:v>
                </c:pt>
                <c:pt idx="166">
                  <c:v>262.66701264620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1E-47F1-A483-499E1EA87F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29.865214858189191</c:v>
                </c:pt>
                <c:pt idx="123">
                  <c:v>31.578792759888564</c:v>
                </c:pt>
                <c:pt idx="124">
                  <c:v>33.414769083137905</c:v>
                </c:pt>
                <c:pt idx="125">
                  <c:v>35.373143827937199</c:v>
                </c:pt>
                <c:pt idx="126">
                  <c:v>37.698713837386357</c:v>
                </c:pt>
                <c:pt idx="127">
                  <c:v>40.146682268385469</c:v>
                </c:pt>
                <c:pt idx="128">
                  <c:v>42.961845964034453</c:v>
                </c:pt>
                <c:pt idx="129">
                  <c:v>45.899408081233382</c:v>
                </c:pt>
                <c:pt idx="130">
                  <c:v>48.836970198432319</c:v>
                </c:pt>
                <c:pt idx="131">
                  <c:v>52.019329158731168</c:v>
                </c:pt>
                <c:pt idx="132">
                  <c:v>55.568883383679882</c:v>
                </c:pt>
                <c:pt idx="133">
                  <c:v>59.240836030178556</c:v>
                </c:pt>
                <c:pt idx="134">
                  <c:v>63.279983941327096</c:v>
                </c:pt>
                <c:pt idx="135">
                  <c:v>67.563928695575541</c:v>
                </c:pt>
                <c:pt idx="136">
                  <c:v>71.970271871373953</c:v>
                </c:pt>
                <c:pt idx="137">
                  <c:v>76.621411890272256</c:v>
                </c:pt>
                <c:pt idx="138">
                  <c:v>81.639747173820439</c:v>
                </c:pt>
                <c:pt idx="139">
                  <c:v>86.902879300468541</c:v>
                </c:pt>
                <c:pt idx="140">
                  <c:v>92.533206691766509</c:v>
                </c:pt>
                <c:pt idx="141">
                  <c:v>98.530729347714342</c:v>
                </c:pt>
                <c:pt idx="142">
                  <c:v>104.89544726831203</c:v>
                </c:pt>
                <c:pt idx="143">
                  <c:v>111.62736045355959</c:v>
                </c:pt>
                <c:pt idx="144">
                  <c:v>118.84886732500698</c:v>
                </c:pt>
                <c:pt idx="145">
                  <c:v>126.55996788265419</c:v>
                </c:pt>
                <c:pt idx="146">
                  <c:v>134.76066212650122</c:v>
                </c:pt>
                <c:pt idx="147">
                  <c:v>143.45095005654807</c:v>
                </c:pt>
                <c:pt idx="148">
                  <c:v>152.63083167279476</c:v>
                </c:pt>
                <c:pt idx="149">
                  <c:v>162.4227053967912</c:v>
                </c:pt>
                <c:pt idx="150">
                  <c:v>172.94896965008741</c:v>
                </c:pt>
                <c:pt idx="151">
                  <c:v>184.08722601113337</c:v>
                </c:pt>
                <c:pt idx="152">
                  <c:v>195.95987290147906</c:v>
                </c:pt>
                <c:pt idx="153">
                  <c:v>208.56691032112451</c:v>
                </c:pt>
                <c:pt idx="154">
                  <c:v>222.03073669161961</c:v>
                </c:pt>
                <c:pt idx="155">
                  <c:v>236.35135201296444</c:v>
                </c:pt>
                <c:pt idx="156">
                  <c:v>251.52875628515892</c:v>
                </c:pt>
                <c:pt idx="157">
                  <c:v>267.56294950820313</c:v>
                </c:pt>
                <c:pt idx="158">
                  <c:v>284.69872852519694</c:v>
                </c:pt>
                <c:pt idx="159">
                  <c:v>302.93609333614035</c:v>
                </c:pt>
                <c:pt idx="160">
                  <c:v>322.39744236258326</c:v>
                </c:pt>
                <c:pt idx="161">
                  <c:v>342.96037718297583</c:v>
                </c:pt>
                <c:pt idx="162">
                  <c:v>364.86969464041795</c:v>
                </c:pt>
                <c:pt idx="163">
                  <c:v>388.24779315645947</c:v>
                </c:pt>
                <c:pt idx="164">
                  <c:v>413.0946727311005</c:v>
                </c:pt>
                <c:pt idx="165">
                  <c:v>439.53273178589086</c:v>
                </c:pt>
                <c:pt idx="166">
                  <c:v>467.56197032083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B1E-47F1-A483-499E1EA87F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29.865214858189191</c:v>
                </c:pt>
                <c:pt idx="123">
                  <c:v>31.578792759888564</c:v>
                </c:pt>
                <c:pt idx="124">
                  <c:v>33.414769083137905</c:v>
                </c:pt>
                <c:pt idx="125">
                  <c:v>35.373143827937199</c:v>
                </c:pt>
                <c:pt idx="126">
                  <c:v>37.698713837386357</c:v>
                </c:pt>
                <c:pt idx="127">
                  <c:v>40.146682268385469</c:v>
                </c:pt>
                <c:pt idx="128">
                  <c:v>42.961845964034453</c:v>
                </c:pt>
                <c:pt idx="129">
                  <c:v>45.899408081233382</c:v>
                </c:pt>
                <c:pt idx="130">
                  <c:v>48.836970198432319</c:v>
                </c:pt>
                <c:pt idx="131">
                  <c:v>52.019329158731168</c:v>
                </c:pt>
                <c:pt idx="132">
                  <c:v>55.568883383679882</c:v>
                </c:pt>
                <c:pt idx="133">
                  <c:v>59.852828137928334</c:v>
                </c:pt>
                <c:pt idx="134">
                  <c:v>64.99356184302647</c:v>
                </c:pt>
                <c:pt idx="135">
                  <c:v>70.623889234324437</c:v>
                </c:pt>
                <c:pt idx="136">
                  <c:v>76.621411890272256</c:v>
                </c:pt>
                <c:pt idx="137">
                  <c:v>83.353325075519834</c:v>
                </c:pt>
                <c:pt idx="138">
                  <c:v>90.942027211617088</c:v>
                </c:pt>
                <c:pt idx="139">
                  <c:v>99.632315141663938</c:v>
                </c:pt>
                <c:pt idx="140">
                  <c:v>108.81219675791061</c:v>
                </c:pt>
                <c:pt idx="141">
                  <c:v>118.48167206035711</c:v>
                </c:pt>
                <c:pt idx="142">
                  <c:v>129.00793631365329</c:v>
                </c:pt>
                <c:pt idx="143">
                  <c:v>140.75818478244906</c:v>
                </c:pt>
                <c:pt idx="144">
                  <c:v>153.61001904519441</c:v>
                </c:pt>
                <c:pt idx="145">
                  <c:v>167.80823594498926</c:v>
                </c:pt>
                <c:pt idx="146">
                  <c:v>183.10803863873372</c:v>
                </c:pt>
                <c:pt idx="147">
                  <c:v>199.63182554797774</c:v>
                </c:pt>
                <c:pt idx="148">
                  <c:v>217.62439351582123</c:v>
                </c:pt>
                <c:pt idx="149">
                  <c:v>237.45293780691404</c:v>
                </c:pt>
                <c:pt idx="150">
                  <c:v>258.99505999970626</c:v>
                </c:pt>
                <c:pt idx="151">
                  <c:v>282.61795535884772</c:v>
                </c:pt>
                <c:pt idx="152">
                  <c:v>308.19922546278843</c:v>
                </c:pt>
                <c:pt idx="153">
                  <c:v>335.98366715462834</c:v>
                </c:pt>
                <c:pt idx="154">
                  <c:v>362.42172620941881</c:v>
                </c:pt>
                <c:pt idx="155">
                  <c:v>389.10458210730917</c:v>
                </c:pt>
                <c:pt idx="156">
                  <c:v>416.7666253775991</c:v>
                </c:pt>
                <c:pt idx="157">
                  <c:v>446.26464497113841</c:v>
                </c:pt>
                <c:pt idx="158">
                  <c:v>476.49705509397751</c:v>
                </c:pt>
                <c:pt idx="159">
                  <c:v>506.97426205991644</c:v>
                </c:pt>
                <c:pt idx="160">
                  <c:v>537.45146902585543</c:v>
                </c:pt>
                <c:pt idx="161">
                  <c:v>571.72302705984305</c:v>
                </c:pt>
                <c:pt idx="162">
                  <c:v>609.17694405412942</c:v>
                </c:pt>
                <c:pt idx="163">
                  <c:v>649.07882947941505</c:v>
                </c:pt>
                <c:pt idx="164">
                  <c:v>690.44949596330002</c:v>
                </c:pt>
                <c:pt idx="165">
                  <c:v>733.90093561353433</c:v>
                </c:pt>
                <c:pt idx="166">
                  <c:v>780.045140537867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B1E-47F1-A483-499E1EA87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4</c:v>
                </c:pt>
                <c:pt idx="1">
                  <c:v>30</c:v>
                </c:pt>
                <c:pt idx="2">
                  <c:v>110</c:v>
                </c:pt>
                <c:pt idx="3">
                  <c:v>80</c:v>
                </c:pt>
                <c:pt idx="4">
                  <c:v>55</c:v>
                </c:pt>
                <c:pt idx="5">
                  <c:v>65</c:v>
                </c:pt>
                <c:pt idx="6">
                  <c:v>55</c:v>
                </c:pt>
                <c:pt idx="7">
                  <c:v>12</c:v>
                </c:pt>
                <c:pt idx="8">
                  <c:v>15</c:v>
                </c:pt>
                <c:pt idx="9">
                  <c:v>69</c:v>
                </c:pt>
                <c:pt idx="10">
                  <c:v>72</c:v>
                </c:pt>
                <c:pt idx="11">
                  <c:v>42</c:v>
                </c:pt>
                <c:pt idx="12">
                  <c:v>33</c:v>
                </c:pt>
                <c:pt idx="13">
                  <c:v>51</c:v>
                </c:pt>
                <c:pt idx="14">
                  <c:v>13</c:v>
                </c:pt>
                <c:pt idx="15">
                  <c:v>12</c:v>
                </c:pt>
                <c:pt idx="16">
                  <c:v>62</c:v>
                </c:pt>
                <c:pt idx="17">
                  <c:v>38</c:v>
                </c:pt>
                <c:pt idx="18">
                  <c:v>39</c:v>
                </c:pt>
                <c:pt idx="19">
                  <c:v>47</c:v>
                </c:pt>
                <c:pt idx="20">
                  <c:v>43</c:v>
                </c:pt>
                <c:pt idx="21">
                  <c:v>16</c:v>
                </c:pt>
                <c:pt idx="22">
                  <c:v>12</c:v>
                </c:pt>
                <c:pt idx="23">
                  <c:v>37</c:v>
                </c:pt>
                <c:pt idx="24">
                  <c:v>35</c:v>
                </c:pt>
                <c:pt idx="25">
                  <c:v>22</c:v>
                </c:pt>
                <c:pt idx="26">
                  <c:v>22</c:v>
                </c:pt>
                <c:pt idx="27">
                  <c:v>22</c:v>
                </c:pt>
                <c:pt idx="28">
                  <c:v>11</c:v>
                </c:pt>
                <c:pt idx="29">
                  <c:v>7</c:v>
                </c:pt>
                <c:pt idx="30">
                  <c:v>37</c:v>
                </c:pt>
                <c:pt idx="31">
                  <c:v>39</c:v>
                </c:pt>
                <c:pt idx="32">
                  <c:v>19</c:v>
                </c:pt>
                <c:pt idx="33">
                  <c:v>21</c:v>
                </c:pt>
                <c:pt idx="34">
                  <c:v>27</c:v>
                </c:pt>
                <c:pt idx="35">
                  <c:v>2</c:v>
                </c:pt>
                <c:pt idx="36">
                  <c:v>15</c:v>
                </c:pt>
                <c:pt idx="37">
                  <c:v>16</c:v>
                </c:pt>
                <c:pt idx="38">
                  <c:v>18</c:v>
                </c:pt>
                <c:pt idx="39">
                  <c:v>21</c:v>
                </c:pt>
                <c:pt idx="40">
                  <c:v>23</c:v>
                </c:pt>
                <c:pt idx="41">
                  <c:v>8</c:v>
                </c:pt>
                <c:pt idx="42">
                  <c:v>0</c:v>
                </c:pt>
                <c:pt idx="43">
                  <c:v>3</c:v>
                </c:pt>
                <c:pt idx="44">
                  <c:v>19</c:v>
                </c:pt>
                <c:pt idx="45">
                  <c:v>17</c:v>
                </c:pt>
                <c:pt idx="46">
                  <c:v>8</c:v>
                </c:pt>
                <c:pt idx="47">
                  <c:v>4</c:v>
                </c:pt>
                <c:pt idx="48">
                  <c:v>6</c:v>
                </c:pt>
                <c:pt idx="49">
                  <c:v>0</c:v>
                </c:pt>
                <c:pt idx="50">
                  <c:v>8</c:v>
                </c:pt>
                <c:pt idx="51">
                  <c:v>10</c:v>
                </c:pt>
                <c:pt idx="52">
                  <c:v>5</c:v>
                </c:pt>
                <c:pt idx="53">
                  <c:v>7</c:v>
                </c:pt>
                <c:pt idx="54">
                  <c:v>3</c:v>
                </c:pt>
                <c:pt idx="55">
                  <c:v>4</c:v>
                </c:pt>
                <c:pt idx="56">
                  <c:v>1</c:v>
                </c:pt>
                <c:pt idx="57">
                  <c:v>6</c:v>
                </c:pt>
                <c:pt idx="58">
                  <c:v>7</c:v>
                </c:pt>
                <c:pt idx="59">
                  <c:v>5</c:v>
                </c:pt>
                <c:pt idx="60">
                  <c:v>5</c:v>
                </c:pt>
                <c:pt idx="61">
                  <c:v>6</c:v>
                </c:pt>
                <c:pt idx="62">
                  <c:v>6</c:v>
                </c:pt>
                <c:pt idx="63">
                  <c:v>1</c:v>
                </c:pt>
                <c:pt idx="64">
                  <c:v>2</c:v>
                </c:pt>
                <c:pt idx="65">
                  <c:v>6</c:v>
                </c:pt>
                <c:pt idx="66">
                  <c:v>5</c:v>
                </c:pt>
                <c:pt idx="67">
                  <c:v>5</c:v>
                </c:pt>
                <c:pt idx="68">
                  <c:v>10</c:v>
                </c:pt>
                <c:pt idx="69">
                  <c:v>6</c:v>
                </c:pt>
                <c:pt idx="70">
                  <c:v>3</c:v>
                </c:pt>
                <c:pt idx="71">
                  <c:v>2</c:v>
                </c:pt>
                <c:pt idx="72">
                  <c:v>6</c:v>
                </c:pt>
                <c:pt idx="73">
                  <c:v>5</c:v>
                </c:pt>
                <c:pt idx="74">
                  <c:v>8</c:v>
                </c:pt>
                <c:pt idx="75">
                  <c:v>8</c:v>
                </c:pt>
                <c:pt idx="76">
                  <c:v>6</c:v>
                </c:pt>
                <c:pt idx="77">
                  <c:v>0</c:v>
                </c:pt>
                <c:pt idx="78">
                  <c:v>4</c:v>
                </c:pt>
                <c:pt idx="79">
                  <c:v>5</c:v>
                </c:pt>
                <c:pt idx="80">
                  <c:v>10</c:v>
                </c:pt>
                <c:pt idx="81">
                  <c:v>8</c:v>
                </c:pt>
                <c:pt idx="82">
                  <c:v>7</c:v>
                </c:pt>
                <c:pt idx="83">
                  <c:v>10</c:v>
                </c:pt>
                <c:pt idx="84">
                  <c:v>1</c:v>
                </c:pt>
                <c:pt idx="85">
                  <c:v>7</c:v>
                </c:pt>
                <c:pt idx="86">
                  <c:v>5</c:v>
                </c:pt>
                <c:pt idx="87">
                  <c:v>17</c:v>
                </c:pt>
                <c:pt idx="88">
                  <c:v>8</c:v>
                </c:pt>
                <c:pt idx="89">
                  <c:v>10</c:v>
                </c:pt>
                <c:pt idx="90">
                  <c:v>2</c:v>
                </c:pt>
                <c:pt idx="91">
                  <c:v>1</c:v>
                </c:pt>
                <c:pt idx="92">
                  <c:v>4</c:v>
                </c:pt>
                <c:pt idx="93">
                  <c:v>6</c:v>
                </c:pt>
                <c:pt idx="94">
                  <c:v>4</c:v>
                </c:pt>
                <c:pt idx="95">
                  <c:v>4</c:v>
                </c:pt>
                <c:pt idx="96">
                  <c:v>10</c:v>
                </c:pt>
                <c:pt idx="97">
                  <c:v>9</c:v>
                </c:pt>
                <c:pt idx="98">
                  <c:v>0</c:v>
                </c:pt>
                <c:pt idx="99">
                  <c:v>4</c:v>
                </c:pt>
                <c:pt idx="100">
                  <c:v>5</c:v>
                </c:pt>
                <c:pt idx="101">
                  <c:v>7</c:v>
                </c:pt>
                <c:pt idx="102">
                  <c:v>3</c:v>
                </c:pt>
                <c:pt idx="103">
                  <c:v>10</c:v>
                </c:pt>
                <c:pt idx="104">
                  <c:v>5</c:v>
                </c:pt>
                <c:pt idx="105">
                  <c:v>6</c:v>
                </c:pt>
                <c:pt idx="106">
                  <c:v>19</c:v>
                </c:pt>
                <c:pt idx="107">
                  <c:v>18</c:v>
                </c:pt>
                <c:pt idx="108">
                  <c:v>24</c:v>
                </c:pt>
                <c:pt idx="109">
                  <c:v>14</c:v>
                </c:pt>
                <c:pt idx="110">
                  <c:v>9</c:v>
                </c:pt>
                <c:pt idx="111">
                  <c:v>7</c:v>
                </c:pt>
                <c:pt idx="112">
                  <c:v>2</c:v>
                </c:pt>
                <c:pt idx="113">
                  <c:v>1</c:v>
                </c:pt>
                <c:pt idx="114">
                  <c:v>14</c:v>
                </c:pt>
                <c:pt idx="115">
                  <c:v>15</c:v>
                </c:pt>
                <c:pt idx="116">
                  <c:v>7</c:v>
                </c:pt>
                <c:pt idx="117">
                  <c:v>10</c:v>
                </c:pt>
                <c:pt idx="118">
                  <c:v>8</c:v>
                </c:pt>
                <c:pt idx="119">
                  <c:v>3</c:v>
                </c:pt>
                <c:pt idx="120">
                  <c:v>7</c:v>
                </c:pt>
                <c:pt idx="121">
                  <c:v>7</c:v>
                </c:pt>
                <c:pt idx="122">
                  <c:v>9</c:v>
                </c:pt>
                <c:pt idx="123">
                  <c:v>11</c:v>
                </c:pt>
                <c:pt idx="124">
                  <c:v>15</c:v>
                </c:pt>
                <c:pt idx="125">
                  <c:v>5</c:v>
                </c:pt>
                <c:pt idx="126">
                  <c:v>3</c:v>
                </c:pt>
                <c:pt idx="127">
                  <c:v>13</c:v>
                </c:pt>
                <c:pt idx="128">
                  <c:v>15</c:v>
                </c:pt>
                <c:pt idx="129">
                  <c:v>11</c:v>
                </c:pt>
                <c:pt idx="130">
                  <c:v>3</c:v>
                </c:pt>
                <c:pt idx="131">
                  <c:v>9</c:v>
                </c:pt>
                <c:pt idx="132">
                  <c:v>9</c:v>
                </c:pt>
                <c:pt idx="133">
                  <c:v>1</c:v>
                </c:pt>
                <c:pt idx="134">
                  <c:v>0</c:v>
                </c:pt>
                <c:pt idx="135">
                  <c:v>9</c:v>
                </c:pt>
                <c:pt idx="136">
                  <c:v>7</c:v>
                </c:pt>
                <c:pt idx="137">
                  <c:v>7</c:v>
                </c:pt>
                <c:pt idx="138">
                  <c:v>10</c:v>
                </c:pt>
                <c:pt idx="139">
                  <c:v>8</c:v>
                </c:pt>
                <c:pt idx="140">
                  <c:v>2</c:v>
                </c:pt>
                <c:pt idx="141">
                  <c:v>8</c:v>
                </c:pt>
                <c:pt idx="142">
                  <c:v>5</c:v>
                </c:pt>
                <c:pt idx="143">
                  <c:v>14</c:v>
                </c:pt>
                <c:pt idx="144">
                  <c:v>5</c:v>
                </c:pt>
                <c:pt idx="145">
                  <c:v>7</c:v>
                </c:pt>
                <c:pt idx="146">
                  <c:v>1</c:v>
                </c:pt>
                <c:pt idx="147">
                  <c:v>3</c:v>
                </c:pt>
                <c:pt idx="148">
                  <c:v>2</c:v>
                </c:pt>
                <c:pt idx="149">
                  <c:v>12</c:v>
                </c:pt>
                <c:pt idx="150">
                  <c:v>2</c:v>
                </c:pt>
                <c:pt idx="151">
                  <c:v>16</c:v>
                </c:pt>
                <c:pt idx="152">
                  <c:v>16</c:v>
                </c:pt>
                <c:pt idx="153">
                  <c:v>20</c:v>
                </c:pt>
                <c:pt idx="154">
                  <c:v>4</c:v>
                </c:pt>
                <c:pt idx="155">
                  <c:v>10</c:v>
                </c:pt>
                <c:pt idx="156">
                  <c:v>20</c:v>
                </c:pt>
                <c:pt idx="157">
                  <c:v>12</c:v>
                </c:pt>
                <c:pt idx="158">
                  <c:v>34</c:v>
                </c:pt>
                <c:pt idx="159">
                  <c:v>17</c:v>
                </c:pt>
                <c:pt idx="160">
                  <c:v>16</c:v>
                </c:pt>
                <c:pt idx="161">
                  <c:v>4</c:v>
                </c:pt>
                <c:pt idx="162">
                  <c:v>9</c:v>
                </c:pt>
                <c:pt idx="163">
                  <c:v>16</c:v>
                </c:pt>
                <c:pt idx="164">
                  <c:v>28</c:v>
                </c:pt>
                <c:pt idx="165">
                  <c:v>12</c:v>
                </c:pt>
                <c:pt idx="166">
                  <c:v>27</c:v>
                </c:pt>
                <c:pt idx="167">
                  <c:v>16</c:v>
                </c:pt>
                <c:pt idx="168">
                  <c:v>5</c:v>
                </c:pt>
                <c:pt idx="169">
                  <c:v>8</c:v>
                </c:pt>
                <c:pt idx="170">
                  <c:v>48</c:v>
                </c:pt>
                <c:pt idx="171">
                  <c:v>54</c:v>
                </c:pt>
                <c:pt idx="172">
                  <c:v>58</c:v>
                </c:pt>
                <c:pt idx="173">
                  <c:v>82</c:v>
                </c:pt>
                <c:pt idx="174">
                  <c:v>84</c:v>
                </c:pt>
                <c:pt idx="175">
                  <c:v>32</c:v>
                </c:pt>
                <c:pt idx="176">
                  <c:v>33</c:v>
                </c:pt>
                <c:pt idx="177">
                  <c:v>96</c:v>
                </c:pt>
                <c:pt idx="178">
                  <c:v>133</c:v>
                </c:pt>
                <c:pt idx="179">
                  <c:v>131</c:v>
                </c:pt>
                <c:pt idx="180">
                  <c:v>90</c:v>
                </c:pt>
                <c:pt idx="181">
                  <c:v>119</c:v>
                </c:pt>
                <c:pt idx="182">
                  <c:v>100</c:v>
                </c:pt>
                <c:pt idx="183">
                  <c:v>22</c:v>
                </c:pt>
                <c:pt idx="184">
                  <c:v>240</c:v>
                </c:pt>
                <c:pt idx="185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BB-4EED-A644-DF008CDA966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10</c:v>
                </c:pt>
                <c:pt idx="154">
                  <c:v>11</c:v>
                </c:pt>
                <c:pt idx="155">
                  <c:v>11</c:v>
                </c:pt>
                <c:pt idx="156">
                  <c:v>12</c:v>
                </c:pt>
                <c:pt idx="157">
                  <c:v>12</c:v>
                </c:pt>
                <c:pt idx="158">
                  <c:v>13</c:v>
                </c:pt>
                <c:pt idx="159">
                  <c:v>13</c:v>
                </c:pt>
                <c:pt idx="160">
                  <c:v>14</c:v>
                </c:pt>
                <c:pt idx="161">
                  <c:v>14</c:v>
                </c:pt>
                <c:pt idx="162">
                  <c:v>15</c:v>
                </c:pt>
                <c:pt idx="163">
                  <c:v>15</c:v>
                </c:pt>
                <c:pt idx="164">
                  <c:v>16</c:v>
                </c:pt>
                <c:pt idx="165">
                  <c:v>16</c:v>
                </c:pt>
                <c:pt idx="166">
                  <c:v>17</c:v>
                </c:pt>
                <c:pt idx="167">
                  <c:v>17</c:v>
                </c:pt>
                <c:pt idx="168">
                  <c:v>18</c:v>
                </c:pt>
                <c:pt idx="169">
                  <c:v>19</c:v>
                </c:pt>
                <c:pt idx="170">
                  <c:v>19</c:v>
                </c:pt>
                <c:pt idx="171">
                  <c:v>20</c:v>
                </c:pt>
                <c:pt idx="172">
                  <c:v>21</c:v>
                </c:pt>
                <c:pt idx="173">
                  <c:v>22</c:v>
                </c:pt>
                <c:pt idx="174">
                  <c:v>22</c:v>
                </c:pt>
                <c:pt idx="175">
                  <c:v>23</c:v>
                </c:pt>
                <c:pt idx="176">
                  <c:v>24</c:v>
                </c:pt>
                <c:pt idx="177">
                  <c:v>25</c:v>
                </c:pt>
                <c:pt idx="178">
                  <c:v>26</c:v>
                </c:pt>
                <c:pt idx="179">
                  <c:v>27</c:v>
                </c:pt>
                <c:pt idx="180">
                  <c:v>28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3</c:v>
                </c:pt>
                <c:pt idx="186">
                  <c:v>34</c:v>
                </c:pt>
                <c:pt idx="187">
                  <c:v>35</c:v>
                </c:pt>
                <c:pt idx="188">
                  <c:v>37</c:v>
                </c:pt>
                <c:pt idx="189">
                  <c:v>38</c:v>
                </c:pt>
                <c:pt idx="190">
                  <c:v>39</c:v>
                </c:pt>
                <c:pt idx="191">
                  <c:v>41</c:v>
                </c:pt>
                <c:pt idx="192">
                  <c:v>42</c:v>
                </c:pt>
                <c:pt idx="193">
                  <c:v>44</c:v>
                </c:pt>
                <c:pt idx="194">
                  <c:v>45</c:v>
                </c:pt>
                <c:pt idx="195">
                  <c:v>47</c:v>
                </c:pt>
                <c:pt idx="196">
                  <c:v>48</c:v>
                </c:pt>
                <c:pt idx="197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BB-4EED-A644-DF008CDA966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11</c:v>
                </c:pt>
                <c:pt idx="154">
                  <c:v>11</c:v>
                </c:pt>
                <c:pt idx="155">
                  <c:v>12</c:v>
                </c:pt>
                <c:pt idx="156">
                  <c:v>13</c:v>
                </c:pt>
                <c:pt idx="157">
                  <c:v>13</c:v>
                </c:pt>
                <c:pt idx="158">
                  <c:v>14</c:v>
                </c:pt>
                <c:pt idx="159">
                  <c:v>15</c:v>
                </c:pt>
                <c:pt idx="160">
                  <c:v>16</c:v>
                </c:pt>
                <c:pt idx="161">
                  <c:v>16</c:v>
                </c:pt>
                <c:pt idx="162">
                  <c:v>17</c:v>
                </c:pt>
                <c:pt idx="163">
                  <c:v>18</c:v>
                </c:pt>
                <c:pt idx="164">
                  <c:v>19</c:v>
                </c:pt>
                <c:pt idx="165">
                  <c:v>20</c:v>
                </c:pt>
                <c:pt idx="166">
                  <c:v>21</c:v>
                </c:pt>
                <c:pt idx="167">
                  <c:v>22</c:v>
                </c:pt>
                <c:pt idx="168">
                  <c:v>23</c:v>
                </c:pt>
                <c:pt idx="169">
                  <c:v>24</c:v>
                </c:pt>
                <c:pt idx="170">
                  <c:v>26</c:v>
                </c:pt>
                <c:pt idx="171">
                  <c:v>27</c:v>
                </c:pt>
                <c:pt idx="172">
                  <c:v>28</c:v>
                </c:pt>
                <c:pt idx="173">
                  <c:v>30</c:v>
                </c:pt>
                <c:pt idx="174">
                  <c:v>31</c:v>
                </c:pt>
                <c:pt idx="175">
                  <c:v>33</c:v>
                </c:pt>
                <c:pt idx="176">
                  <c:v>34</c:v>
                </c:pt>
                <c:pt idx="177">
                  <c:v>36</c:v>
                </c:pt>
                <c:pt idx="178">
                  <c:v>38</c:v>
                </c:pt>
                <c:pt idx="179">
                  <c:v>40</c:v>
                </c:pt>
                <c:pt idx="180">
                  <c:v>42</c:v>
                </c:pt>
                <c:pt idx="181">
                  <c:v>44</c:v>
                </c:pt>
                <c:pt idx="182">
                  <c:v>46</c:v>
                </c:pt>
                <c:pt idx="183">
                  <c:v>49</c:v>
                </c:pt>
                <c:pt idx="184">
                  <c:v>51</c:v>
                </c:pt>
                <c:pt idx="185">
                  <c:v>53</c:v>
                </c:pt>
                <c:pt idx="186">
                  <c:v>56</c:v>
                </c:pt>
                <c:pt idx="187">
                  <c:v>59</c:v>
                </c:pt>
                <c:pt idx="188">
                  <c:v>62</c:v>
                </c:pt>
                <c:pt idx="189">
                  <c:v>65</c:v>
                </c:pt>
                <c:pt idx="190">
                  <c:v>68</c:v>
                </c:pt>
                <c:pt idx="191">
                  <c:v>72</c:v>
                </c:pt>
                <c:pt idx="192">
                  <c:v>75</c:v>
                </c:pt>
                <c:pt idx="193">
                  <c:v>79</c:v>
                </c:pt>
                <c:pt idx="194">
                  <c:v>83</c:v>
                </c:pt>
                <c:pt idx="195">
                  <c:v>87</c:v>
                </c:pt>
                <c:pt idx="196">
                  <c:v>91</c:v>
                </c:pt>
                <c:pt idx="197">
                  <c:v>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B-4EED-A644-DF008CDA966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11</c:v>
                </c:pt>
                <c:pt idx="154">
                  <c:v>12</c:v>
                </c:pt>
                <c:pt idx="155">
                  <c:v>13</c:v>
                </c:pt>
                <c:pt idx="156">
                  <c:v>13</c:v>
                </c:pt>
                <c:pt idx="157">
                  <c:v>14</c:v>
                </c:pt>
                <c:pt idx="158">
                  <c:v>15</c:v>
                </c:pt>
                <c:pt idx="159">
                  <c:v>16</c:v>
                </c:pt>
                <c:pt idx="160">
                  <c:v>18</c:v>
                </c:pt>
                <c:pt idx="161">
                  <c:v>19</c:v>
                </c:pt>
                <c:pt idx="162">
                  <c:v>20</c:v>
                </c:pt>
                <c:pt idx="163">
                  <c:v>21</c:v>
                </c:pt>
                <c:pt idx="164">
                  <c:v>23</c:v>
                </c:pt>
                <c:pt idx="165">
                  <c:v>24</c:v>
                </c:pt>
                <c:pt idx="166">
                  <c:v>26</c:v>
                </c:pt>
                <c:pt idx="167">
                  <c:v>27</c:v>
                </c:pt>
                <c:pt idx="168">
                  <c:v>29</c:v>
                </c:pt>
                <c:pt idx="169">
                  <c:v>31</c:v>
                </c:pt>
                <c:pt idx="170">
                  <c:v>33</c:v>
                </c:pt>
                <c:pt idx="171">
                  <c:v>35</c:v>
                </c:pt>
                <c:pt idx="172">
                  <c:v>37</c:v>
                </c:pt>
                <c:pt idx="173">
                  <c:v>40</c:v>
                </c:pt>
                <c:pt idx="174">
                  <c:v>42</c:v>
                </c:pt>
                <c:pt idx="175">
                  <c:v>45</c:v>
                </c:pt>
                <c:pt idx="176">
                  <c:v>48</c:v>
                </c:pt>
                <c:pt idx="177">
                  <c:v>51</c:v>
                </c:pt>
                <c:pt idx="178">
                  <c:v>54</c:v>
                </c:pt>
                <c:pt idx="179">
                  <c:v>58</c:v>
                </c:pt>
                <c:pt idx="180">
                  <c:v>62</c:v>
                </c:pt>
                <c:pt idx="181">
                  <c:v>66</c:v>
                </c:pt>
                <c:pt idx="182">
                  <c:v>70</c:v>
                </c:pt>
                <c:pt idx="183">
                  <c:v>74</c:v>
                </c:pt>
                <c:pt idx="184">
                  <c:v>79</c:v>
                </c:pt>
                <c:pt idx="185">
                  <c:v>84</c:v>
                </c:pt>
                <c:pt idx="186">
                  <c:v>90</c:v>
                </c:pt>
                <c:pt idx="187">
                  <c:v>95</c:v>
                </c:pt>
                <c:pt idx="188">
                  <c:v>101</c:v>
                </c:pt>
                <c:pt idx="189">
                  <c:v>108</c:v>
                </c:pt>
                <c:pt idx="190">
                  <c:v>115</c:v>
                </c:pt>
                <c:pt idx="191">
                  <c:v>122</c:v>
                </c:pt>
                <c:pt idx="192">
                  <c:v>130</c:v>
                </c:pt>
                <c:pt idx="193">
                  <c:v>138</c:v>
                </c:pt>
                <c:pt idx="194">
                  <c:v>147</c:v>
                </c:pt>
                <c:pt idx="195">
                  <c:v>156</c:v>
                </c:pt>
                <c:pt idx="196">
                  <c:v>166</c:v>
                </c:pt>
                <c:pt idx="197">
                  <c:v>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BB-4EED-A644-DF008CDA966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11</c:v>
                </c:pt>
                <c:pt idx="154">
                  <c:v>12</c:v>
                </c:pt>
                <c:pt idx="155">
                  <c:v>13</c:v>
                </c:pt>
                <c:pt idx="156">
                  <c:v>13</c:v>
                </c:pt>
                <c:pt idx="157">
                  <c:v>14</c:v>
                </c:pt>
                <c:pt idx="158">
                  <c:v>15</c:v>
                </c:pt>
                <c:pt idx="159">
                  <c:v>16</c:v>
                </c:pt>
                <c:pt idx="160">
                  <c:v>18</c:v>
                </c:pt>
                <c:pt idx="161">
                  <c:v>19</c:v>
                </c:pt>
                <c:pt idx="162">
                  <c:v>20</c:v>
                </c:pt>
                <c:pt idx="163">
                  <c:v>21</c:v>
                </c:pt>
                <c:pt idx="164">
                  <c:v>24</c:v>
                </c:pt>
                <c:pt idx="165">
                  <c:v>27</c:v>
                </c:pt>
                <c:pt idx="166">
                  <c:v>29</c:v>
                </c:pt>
                <c:pt idx="167">
                  <c:v>31</c:v>
                </c:pt>
                <c:pt idx="168">
                  <c:v>34</c:v>
                </c:pt>
                <c:pt idx="169">
                  <c:v>37</c:v>
                </c:pt>
                <c:pt idx="170">
                  <c:v>40</c:v>
                </c:pt>
                <c:pt idx="171">
                  <c:v>44</c:v>
                </c:pt>
                <c:pt idx="172">
                  <c:v>48</c:v>
                </c:pt>
                <c:pt idx="173">
                  <c:v>52</c:v>
                </c:pt>
                <c:pt idx="174">
                  <c:v>57</c:v>
                </c:pt>
                <c:pt idx="175">
                  <c:v>62</c:v>
                </c:pt>
                <c:pt idx="176">
                  <c:v>68</c:v>
                </c:pt>
                <c:pt idx="177">
                  <c:v>74</c:v>
                </c:pt>
                <c:pt idx="178">
                  <c:v>81</c:v>
                </c:pt>
                <c:pt idx="179">
                  <c:v>88</c:v>
                </c:pt>
                <c:pt idx="180">
                  <c:v>96</c:v>
                </c:pt>
                <c:pt idx="181">
                  <c:v>105</c:v>
                </c:pt>
                <c:pt idx="182">
                  <c:v>114</c:v>
                </c:pt>
                <c:pt idx="183">
                  <c:v>125</c:v>
                </c:pt>
                <c:pt idx="184">
                  <c:v>136</c:v>
                </c:pt>
                <c:pt idx="185">
                  <c:v>139</c:v>
                </c:pt>
                <c:pt idx="186">
                  <c:v>147</c:v>
                </c:pt>
                <c:pt idx="187">
                  <c:v>158</c:v>
                </c:pt>
                <c:pt idx="188">
                  <c:v>170</c:v>
                </c:pt>
                <c:pt idx="189">
                  <c:v>181</c:v>
                </c:pt>
                <c:pt idx="190">
                  <c:v>192</c:v>
                </c:pt>
                <c:pt idx="191">
                  <c:v>204</c:v>
                </c:pt>
                <c:pt idx="192">
                  <c:v>215</c:v>
                </c:pt>
                <c:pt idx="193">
                  <c:v>230</c:v>
                </c:pt>
                <c:pt idx="194">
                  <c:v>246</c:v>
                </c:pt>
                <c:pt idx="195">
                  <c:v>262</c:v>
                </c:pt>
                <c:pt idx="196">
                  <c:v>278</c:v>
                </c:pt>
                <c:pt idx="197">
                  <c:v>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BB-4EED-A644-DF008CDA9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96-4C9B-A802-3CE62B6AE08A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36.160153319050075</c:v>
                </c:pt>
                <c:pt idx="1">
                  <c:v>35.482150444317888</c:v>
                </c:pt>
                <c:pt idx="2">
                  <c:v>35.256149486073824</c:v>
                </c:pt>
                <c:pt idx="3">
                  <c:v>36.386154277294139</c:v>
                </c:pt>
                <c:pt idx="4">
                  <c:v>34.352145653097566</c:v>
                </c:pt>
                <c:pt idx="5">
                  <c:v>36.160153319050075</c:v>
                </c:pt>
                <c:pt idx="6">
                  <c:v>31.414133195924752</c:v>
                </c:pt>
                <c:pt idx="7">
                  <c:v>26.668113072799429</c:v>
                </c:pt>
                <c:pt idx="8">
                  <c:v>27.120114989287554</c:v>
                </c:pt>
                <c:pt idx="9">
                  <c:v>27.572116905775683</c:v>
                </c:pt>
                <c:pt idx="10">
                  <c:v>23.278098699138482</c:v>
                </c:pt>
                <c:pt idx="11">
                  <c:v>22.826096782650357</c:v>
                </c:pt>
                <c:pt idx="12">
                  <c:v>20.114085283721604</c:v>
                </c:pt>
                <c:pt idx="13">
                  <c:v>20.792088158453794</c:v>
                </c:pt>
                <c:pt idx="14">
                  <c:v>20.566087200209729</c:v>
                </c:pt>
                <c:pt idx="15">
                  <c:v>17.628074743036912</c:v>
                </c:pt>
                <c:pt idx="16">
                  <c:v>13.334056536399714</c:v>
                </c:pt>
                <c:pt idx="17">
                  <c:v>12.882054619911589</c:v>
                </c:pt>
                <c:pt idx="18">
                  <c:v>12.882054619911589</c:v>
                </c:pt>
                <c:pt idx="19">
                  <c:v>14.012059411131904</c:v>
                </c:pt>
                <c:pt idx="20">
                  <c:v>11.978050786935336</c:v>
                </c:pt>
                <c:pt idx="21">
                  <c:v>9.2660392880065814</c:v>
                </c:pt>
                <c:pt idx="22">
                  <c:v>9.0400383297625186</c:v>
                </c:pt>
                <c:pt idx="23">
                  <c:v>8.8140373715184559</c:v>
                </c:pt>
                <c:pt idx="24">
                  <c:v>8.3620354550303286</c:v>
                </c:pt>
                <c:pt idx="25">
                  <c:v>8.5880364132743914</c:v>
                </c:pt>
                <c:pt idx="26">
                  <c:v>8.1360344967862659</c:v>
                </c:pt>
                <c:pt idx="27">
                  <c:v>7.4580316220540785</c:v>
                </c:pt>
                <c:pt idx="28">
                  <c:v>7.4580316220540785</c:v>
                </c:pt>
                <c:pt idx="29">
                  <c:v>7.0060297055659522</c:v>
                </c:pt>
                <c:pt idx="30">
                  <c:v>7.6840325802981395</c:v>
                </c:pt>
                <c:pt idx="31">
                  <c:v>8.1360344967862659</c:v>
                </c:pt>
                <c:pt idx="32">
                  <c:v>8.1360344967862659</c:v>
                </c:pt>
                <c:pt idx="33">
                  <c:v>7.2320306638100149</c:v>
                </c:pt>
                <c:pt idx="34">
                  <c:v>7.0060297055659522</c:v>
                </c:pt>
                <c:pt idx="35">
                  <c:v>7.0060297055659522</c:v>
                </c:pt>
                <c:pt idx="36">
                  <c:v>7.0060297055659522</c:v>
                </c:pt>
                <c:pt idx="37">
                  <c:v>7.9100335385422031</c:v>
                </c:pt>
                <c:pt idx="38">
                  <c:v>7.9100335385422031</c:v>
                </c:pt>
                <c:pt idx="39">
                  <c:v>8.3620354550303286</c:v>
                </c:pt>
                <c:pt idx="40">
                  <c:v>8.3620354550303286</c:v>
                </c:pt>
                <c:pt idx="41">
                  <c:v>8.3620354550303286</c:v>
                </c:pt>
                <c:pt idx="42">
                  <c:v>8.3620354550303286</c:v>
                </c:pt>
                <c:pt idx="43">
                  <c:v>9.0400383297625186</c:v>
                </c:pt>
                <c:pt idx="44">
                  <c:v>8.5880364132743914</c:v>
                </c:pt>
                <c:pt idx="45">
                  <c:v>8.5880364132743914</c:v>
                </c:pt>
                <c:pt idx="46">
                  <c:v>7.9100335385422031</c:v>
                </c:pt>
                <c:pt idx="47">
                  <c:v>8.3620354550303286</c:v>
                </c:pt>
                <c:pt idx="48">
                  <c:v>8.1360344967862659</c:v>
                </c:pt>
                <c:pt idx="49">
                  <c:v>9.2660392880065814</c:v>
                </c:pt>
                <c:pt idx="50">
                  <c:v>9.2660392880065814</c:v>
                </c:pt>
                <c:pt idx="51">
                  <c:v>9.0400383297625186</c:v>
                </c:pt>
                <c:pt idx="52">
                  <c:v>9.9440421627387696</c:v>
                </c:pt>
                <c:pt idx="53">
                  <c:v>10.170043120982834</c:v>
                </c:pt>
                <c:pt idx="54">
                  <c:v>10.848045995715021</c:v>
                </c:pt>
                <c:pt idx="55">
                  <c:v>10.848045995715021</c:v>
                </c:pt>
                <c:pt idx="56">
                  <c:v>12.430052703423463</c:v>
                </c:pt>
                <c:pt idx="57">
                  <c:v>12.430052703423463</c:v>
                </c:pt>
                <c:pt idx="58">
                  <c:v>13.108055578155652</c:v>
                </c:pt>
                <c:pt idx="59">
                  <c:v>11.300047912203148</c:v>
                </c:pt>
                <c:pt idx="60">
                  <c:v>11.300047912203148</c:v>
                </c:pt>
                <c:pt idx="61">
                  <c:v>10.62204503747096</c:v>
                </c:pt>
                <c:pt idx="62">
                  <c:v>10.848045995715021</c:v>
                </c:pt>
                <c:pt idx="63">
                  <c:v>7.9100335385422031</c:v>
                </c:pt>
                <c:pt idx="64">
                  <c:v>7.0060297055659522</c:v>
                </c:pt>
                <c:pt idx="65">
                  <c:v>7.0060297055659522</c:v>
                </c:pt>
                <c:pt idx="66">
                  <c:v>8.5880364132743914</c:v>
                </c:pt>
                <c:pt idx="67">
                  <c:v>8.3620354550303286</c:v>
                </c:pt>
                <c:pt idx="68">
                  <c:v>8.3620354550303286</c:v>
                </c:pt>
                <c:pt idx="69">
                  <c:v>8.1360344967862659</c:v>
                </c:pt>
                <c:pt idx="70">
                  <c:v>8.8140373715184559</c:v>
                </c:pt>
                <c:pt idx="71">
                  <c:v>8.5880364132743914</c:v>
                </c:pt>
                <c:pt idx="72">
                  <c:v>8.5880364132743914</c:v>
                </c:pt>
                <c:pt idx="73">
                  <c:v>7.6840325802981395</c:v>
                </c:pt>
                <c:pt idx="74">
                  <c:v>9.0400383297625186</c:v>
                </c:pt>
                <c:pt idx="75">
                  <c:v>12.430052703423463</c:v>
                </c:pt>
                <c:pt idx="76">
                  <c:v>15.368065160596279</c:v>
                </c:pt>
                <c:pt idx="77">
                  <c:v>19.210081450745353</c:v>
                </c:pt>
                <c:pt idx="78">
                  <c:v>21.696091991430041</c:v>
                </c:pt>
                <c:pt idx="79">
                  <c:v>21.47009103318598</c:v>
                </c:pt>
                <c:pt idx="80">
                  <c:v>21.922092949674106</c:v>
                </c:pt>
                <c:pt idx="81">
                  <c:v>21.018089116697855</c:v>
                </c:pt>
                <c:pt idx="82">
                  <c:v>16.950071868304722</c:v>
                </c:pt>
                <c:pt idx="83">
                  <c:v>16.046068035328467</c:v>
                </c:pt>
                <c:pt idx="84">
                  <c:v>14.012059411131904</c:v>
                </c:pt>
                <c:pt idx="85">
                  <c:v>12.430052703423463</c:v>
                </c:pt>
                <c:pt idx="86">
                  <c:v>12.656053661667526</c:v>
                </c:pt>
                <c:pt idx="87">
                  <c:v>12.882054619911589</c:v>
                </c:pt>
                <c:pt idx="88">
                  <c:v>13.108055578155652</c:v>
                </c:pt>
                <c:pt idx="89">
                  <c:v>14.46406132762003</c:v>
                </c:pt>
                <c:pt idx="90">
                  <c:v>12.882054619911589</c:v>
                </c:pt>
                <c:pt idx="91">
                  <c:v>11.526048870447211</c:v>
                </c:pt>
                <c:pt idx="92">
                  <c:v>12.430052703423463</c:v>
                </c:pt>
                <c:pt idx="93">
                  <c:v>13.560057494643777</c:v>
                </c:pt>
                <c:pt idx="94">
                  <c:v>12.882054619911589</c:v>
                </c:pt>
                <c:pt idx="95">
                  <c:v>12.882054619911589</c:v>
                </c:pt>
                <c:pt idx="96">
                  <c:v>14.238060369375967</c:v>
                </c:pt>
                <c:pt idx="97">
                  <c:v>16.046068035328467</c:v>
                </c:pt>
                <c:pt idx="98">
                  <c:v>16.498069951816596</c:v>
                </c:pt>
                <c:pt idx="99">
                  <c:v>14.690062285864093</c:v>
                </c:pt>
                <c:pt idx="100">
                  <c:v>13.334056536399714</c:v>
                </c:pt>
                <c:pt idx="101">
                  <c:v>14.238060369375967</c:v>
                </c:pt>
                <c:pt idx="102">
                  <c:v>13.786058452887842</c:v>
                </c:pt>
                <c:pt idx="103">
                  <c:v>10.848045995715021</c:v>
                </c:pt>
                <c:pt idx="104">
                  <c:v>9.4920402462506441</c:v>
                </c:pt>
                <c:pt idx="105">
                  <c:v>8.5880364132743914</c:v>
                </c:pt>
                <c:pt idx="106">
                  <c:v>9.4920402462506441</c:v>
                </c:pt>
                <c:pt idx="107">
                  <c:v>9.7180412044947069</c:v>
                </c:pt>
                <c:pt idx="108">
                  <c:v>9.4920402462506441</c:v>
                </c:pt>
                <c:pt idx="109">
                  <c:v>9.7180412044947069</c:v>
                </c:pt>
                <c:pt idx="110">
                  <c:v>11.526048870447211</c:v>
                </c:pt>
                <c:pt idx="111">
                  <c:v>10.62204503747096</c:v>
                </c:pt>
                <c:pt idx="112">
                  <c:v>12.204051745179399</c:v>
                </c:pt>
                <c:pt idx="113">
                  <c:v>11.752049828691273</c:v>
                </c:pt>
                <c:pt idx="114">
                  <c:v>11.074046953959085</c:v>
                </c:pt>
                <c:pt idx="115">
                  <c:v>9.4920402462506441</c:v>
                </c:pt>
                <c:pt idx="116">
                  <c:v>9.7180412044947069</c:v>
                </c:pt>
                <c:pt idx="117">
                  <c:v>8.3620354550303286</c:v>
                </c:pt>
                <c:pt idx="118">
                  <c:v>9.9440421627387696</c:v>
                </c:pt>
                <c:pt idx="119">
                  <c:v>7.2320306638100149</c:v>
                </c:pt>
                <c:pt idx="120">
                  <c:v>9.7180412044947069</c:v>
                </c:pt>
                <c:pt idx="121">
                  <c:v>11.752049828691273</c:v>
                </c:pt>
                <c:pt idx="122">
                  <c:v>16.046068035328467</c:v>
                </c:pt>
                <c:pt idx="123">
                  <c:v>16.272068993572532</c:v>
                </c:pt>
                <c:pt idx="124">
                  <c:v>18.080076659525037</c:v>
                </c:pt>
                <c:pt idx="125">
                  <c:v>19.888084325477539</c:v>
                </c:pt>
                <c:pt idx="126">
                  <c:v>22.14809390791817</c:v>
                </c:pt>
                <c:pt idx="127">
                  <c:v>26.216111156311303</c:v>
                </c:pt>
                <c:pt idx="128">
                  <c:v>26.442112114555364</c:v>
                </c:pt>
                <c:pt idx="129">
                  <c:v>25.538108281579113</c:v>
                </c:pt>
                <c:pt idx="130">
                  <c:v>25.538108281579113</c:v>
                </c:pt>
                <c:pt idx="131">
                  <c:v>25.312107323335052</c:v>
                </c:pt>
                <c:pt idx="132">
                  <c:v>24.408103490358798</c:v>
                </c:pt>
                <c:pt idx="133">
                  <c:v>28.024118822263809</c:v>
                </c:pt>
                <c:pt idx="134">
                  <c:v>23.052097740894421</c:v>
                </c:pt>
                <c:pt idx="135">
                  <c:v>25.312107323335052</c:v>
                </c:pt>
                <c:pt idx="136">
                  <c:v>25.312107323335052</c:v>
                </c:pt>
                <c:pt idx="137">
                  <c:v>25.538108281579113</c:v>
                </c:pt>
                <c:pt idx="138">
                  <c:v>25.312107323335052</c:v>
                </c:pt>
                <c:pt idx="139">
                  <c:v>32.544137987145064</c:v>
                </c:pt>
                <c:pt idx="140">
                  <c:v>38.420162901490706</c:v>
                </c:pt>
                <c:pt idx="141">
                  <c:v>48.816206980717595</c:v>
                </c:pt>
                <c:pt idx="142">
                  <c:v>61.246259684141066</c:v>
                </c:pt>
                <c:pt idx="143">
                  <c:v>76.61432484473734</c:v>
                </c:pt>
                <c:pt idx="144">
                  <c:v>82.716350717327046</c:v>
                </c:pt>
                <c:pt idx="145">
                  <c:v>88.366374673428624</c:v>
                </c:pt>
                <c:pt idx="146">
                  <c:v>99.214420669143649</c:v>
                </c:pt>
                <c:pt idx="147">
                  <c:v>117.06849637042461</c:v>
                </c:pt>
                <c:pt idx="148">
                  <c:v>133.56656632224121</c:v>
                </c:pt>
                <c:pt idx="149">
                  <c:v>135.3745739881937</c:v>
                </c:pt>
                <c:pt idx="150">
                  <c:v>143.28460752673593</c:v>
                </c:pt>
                <c:pt idx="151">
                  <c:v>158.6526726873322</c:v>
                </c:pt>
                <c:pt idx="152">
                  <c:v>156.1666621466475</c:v>
                </c:pt>
                <c:pt idx="153">
                  <c:v>188.71080013379256</c:v>
                </c:pt>
                <c:pt idx="154">
                  <c:v>207.46887966804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96-4C9B-A802-3CE62B6AE08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11.752049828691273</c:v>
                </c:pt>
                <c:pt idx="123">
                  <c:v>12.204051745179399</c:v>
                </c:pt>
                <c:pt idx="124">
                  <c:v>12.656053661667526</c:v>
                </c:pt>
                <c:pt idx="125">
                  <c:v>13.108055578155652</c:v>
                </c:pt>
                <c:pt idx="126">
                  <c:v>13.786058452887842</c:v>
                </c:pt>
                <c:pt idx="127">
                  <c:v>14.238060369375967</c:v>
                </c:pt>
                <c:pt idx="128">
                  <c:v>14.690062285864093</c:v>
                </c:pt>
                <c:pt idx="129">
                  <c:v>15.368065160596279</c:v>
                </c:pt>
                <c:pt idx="130">
                  <c:v>15.820067077084406</c:v>
                </c:pt>
                <c:pt idx="131">
                  <c:v>16.498069951816596</c:v>
                </c:pt>
                <c:pt idx="132">
                  <c:v>17.176072826548783</c:v>
                </c:pt>
                <c:pt idx="133">
                  <c:v>17.854075701280973</c:v>
                </c:pt>
                <c:pt idx="134">
                  <c:v>18.532078576013163</c:v>
                </c:pt>
                <c:pt idx="135">
                  <c:v>19.436082408989414</c:v>
                </c:pt>
                <c:pt idx="136">
                  <c:v>20.114085283721604</c:v>
                </c:pt>
                <c:pt idx="137">
                  <c:v>21.018089116697855</c:v>
                </c:pt>
                <c:pt idx="138">
                  <c:v>21.696091991430041</c:v>
                </c:pt>
                <c:pt idx="139">
                  <c:v>22.600095824406296</c:v>
                </c:pt>
                <c:pt idx="140">
                  <c:v>23.278098699138482</c:v>
                </c:pt>
                <c:pt idx="141">
                  <c:v>24.182102532114737</c:v>
                </c:pt>
                <c:pt idx="142">
                  <c:v>24.860105406846927</c:v>
                </c:pt>
                <c:pt idx="143">
                  <c:v>25.764109239823178</c:v>
                </c:pt>
                <c:pt idx="144">
                  <c:v>26.668113072799429</c:v>
                </c:pt>
                <c:pt idx="145">
                  <c:v>27.572116905775683</c:v>
                </c:pt>
                <c:pt idx="146">
                  <c:v>28.476120738751934</c:v>
                </c:pt>
                <c:pt idx="147">
                  <c:v>29.606125529972246</c:v>
                </c:pt>
                <c:pt idx="148">
                  <c:v>30.510129362948501</c:v>
                </c:pt>
                <c:pt idx="149">
                  <c:v>31.640134154168813</c:v>
                </c:pt>
                <c:pt idx="150">
                  <c:v>32.770138945389128</c:v>
                </c:pt>
                <c:pt idx="151">
                  <c:v>33.900143736609444</c:v>
                </c:pt>
                <c:pt idx="152">
                  <c:v>35.256149486073824</c:v>
                </c:pt>
                <c:pt idx="153">
                  <c:v>36.612155235538197</c:v>
                </c:pt>
                <c:pt idx="154">
                  <c:v>37.742160026758512</c:v>
                </c:pt>
                <c:pt idx="155">
                  <c:v>39.098165776222892</c:v>
                </c:pt>
                <c:pt idx="156">
                  <c:v>40.454171525687265</c:v>
                </c:pt>
                <c:pt idx="157">
                  <c:v>41.810177275151645</c:v>
                </c:pt>
                <c:pt idx="158">
                  <c:v>43.166183024616025</c:v>
                </c:pt>
                <c:pt idx="159">
                  <c:v>44.522188774080405</c:v>
                </c:pt>
                <c:pt idx="160">
                  <c:v>46.104195481788842</c:v>
                </c:pt>
                <c:pt idx="161">
                  <c:v>47.912203147741344</c:v>
                </c:pt>
                <c:pt idx="162">
                  <c:v>49.720210813693853</c:v>
                </c:pt>
                <c:pt idx="163">
                  <c:v>51.528218479646355</c:v>
                </c:pt>
                <c:pt idx="164">
                  <c:v>53.336226145598857</c:v>
                </c:pt>
                <c:pt idx="165">
                  <c:v>55.370234769795417</c:v>
                </c:pt>
                <c:pt idx="166">
                  <c:v>57.40424339399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96-4C9B-A802-3CE62B6AE08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11.978050786935336</c:v>
                </c:pt>
                <c:pt idx="123">
                  <c:v>12.430052703423463</c:v>
                </c:pt>
                <c:pt idx="124">
                  <c:v>13.108055578155652</c:v>
                </c:pt>
                <c:pt idx="125">
                  <c:v>13.786058452887842</c:v>
                </c:pt>
                <c:pt idx="126">
                  <c:v>14.690062285864093</c:v>
                </c:pt>
                <c:pt idx="127">
                  <c:v>15.368065160596279</c:v>
                </c:pt>
                <c:pt idx="128">
                  <c:v>16.272068993572532</c:v>
                </c:pt>
                <c:pt idx="129">
                  <c:v>16.950071868304722</c:v>
                </c:pt>
                <c:pt idx="130">
                  <c:v>17.854075701280973</c:v>
                </c:pt>
                <c:pt idx="131">
                  <c:v>18.758079534257224</c:v>
                </c:pt>
                <c:pt idx="132">
                  <c:v>19.662083367233478</c:v>
                </c:pt>
                <c:pt idx="133">
                  <c:v>20.566087200209729</c:v>
                </c:pt>
                <c:pt idx="134">
                  <c:v>21.696091991430041</c:v>
                </c:pt>
                <c:pt idx="135">
                  <c:v>22.826096782650357</c:v>
                </c:pt>
                <c:pt idx="136">
                  <c:v>24.182102532114737</c:v>
                </c:pt>
                <c:pt idx="137">
                  <c:v>25.538108281579113</c:v>
                </c:pt>
                <c:pt idx="138">
                  <c:v>26.668113072799429</c:v>
                </c:pt>
                <c:pt idx="139">
                  <c:v>28.024118822263809</c:v>
                </c:pt>
                <c:pt idx="140">
                  <c:v>29.606125529972246</c:v>
                </c:pt>
                <c:pt idx="141">
                  <c:v>31.188132237680687</c:v>
                </c:pt>
                <c:pt idx="142">
                  <c:v>32.770138945389128</c:v>
                </c:pt>
                <c:pt idx="143">
                  <c:v>34.352145653097566</c:v>
                </c:pt>
                <c:pt idx="144">
                  <c:v>35.93415236080601</c:v>
                </c:pt>
                <c:pt idx="145">
                  <c:v>37.968160985002577</c:v>
                </c:pt>
                <c:pt idx="146">
                  <c:v>40.002169609199143</c:v>
                </c:pt>
                <c:pt idx="147">
                  <c:v>41.810177275151645</c:v>
                </c:pt>
                <c:pt idx="148">
                  <c:v>43.844185899348211</c:v>
                </c:pt>
                <c:pt idx="149">
                  <c:v>46.104195481788842</c:v>
                </c:pt>
                <c:pt idx="150">
                  <c:v>48.364205064229473</c:v>
                </c:pt>
                <c:pt idx="151">
                  <c:v>50.850215604914169</c:v>
                </c:pt>
                <c:pt idx="152">
                  <c:v>53.336226145598857</c:v>
                </c:pt>
                <c:pt idx="153">
                  <c:v>56.048237644527617</c:v>
                </c:pt>
                <c:pt idx="154">
                  <c:v>58.986250101700428</c:v>
                </c:pt>
                <c:pt idx="155">
                  <c:v>61.924262558873252</c:v>
                </c:pt>
                <c:pt idx="156">
                  <c:v>64.86227501604607</c:v>
                </c:pt>
                <c:pt idx="157">
                  <c:v>68.252289389707016</c:v>
                </c:pt>
                <c:pt idx="158">
                  <c:v>71.642303763367963</c:v>
                </c:pt>
                <c:pt idx="159">
                  <c:v>75.258319095272967</c:v>
                </c:pt>
                <c:pt idx="160">
                  <c:v>78.87433442717797</c:v>
                </c:pt>
                <c:pt idx="161">
                  <c:v>82.716350717327046</c:v>
                </c:pt>
                <c:pt idx="162">
                  <c:v>86.784367965720165</c:v>
                </c:pt>
                <c:pt idx="163">
                  <c:v>91.078386172357369</c:v>
                </c:pt>
                <c:pt idx="164">
                  <c:v>95.598405337238631</c:v>
                </c:pt>
                <c:pt idx="165">
                  <c:v>100.34442546036394</c:v>
                </c:pt>
                <c:pt idx="166">
                  <c:v>105.3164465417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C96-4C9B-A802-3CE62B6AE08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11.978050786935336</c:v>
                </c:pt>
                <c:pt idx="123">
                  <c:v>12.656053661667526</c:v>
                </c:pt>
                <c:pt idx="124">
                  <c:v>13.334056536399714</c:v>
                </c:pt>
                <c:pt idx="125">
                  <c:v>14.238060369375967</c:v>
                </c:pt>
                <c:pt idx="126">
                  <c:v>15.14206420235222</c:v>
                </c:pt>
                <c:pt idx="127">
                  <c:v>16.046068035328467</c:v>
                </c:pt>
                <c:pt idx="128">
                  <c:v>17.176072826548783</c:v>
                </c:pt>
                <c:pt idx="129">
                  <c:v>18.306077617769098</c:v>
                </c:pt>
                <c:pt idx="130">
                  <c:v>19.436082408989414</c:v>
                </c:pt>
                <c:pt idx="131">
                  <c:v>20.792088158453794</c:v>
                </c:pt>
                <c:pt idx="132">
                  <c:v>22.14809390791817</c:v>
                </c:pt>
                <c:pt idx="133">
                  <c:v>23.730100615626611</c:v>
                </c:pt>
                <c:pt idx="134">
                  <c:v>25.312107323335052</c:v>
                </c:pt>
                <c:pt idx="135">
                  <c:v>27.120114989287554</c:v>
                </c:pt>
                <c:pt idx="136">
                  <c:v>28.92812265524006</c:v>
                </c:pt>
                <c:pt idx="137">
                  <c:v>30.736130321192558</c:v>
                </c:pt>
                <c:pt idx="138">
                  <c:v>32.770138945389128</c:v>
                </c:pt>
                <c:pt idx="139">
                  <c:v>34.804147569585695</c:v>
                </c:pt>
                <c:pt idx="140">
                  <c:v>37.064157152026326</c:v>
                </c:pt>
                <c:pt idx="141">
                  <c:v>39.550167692711014</c:v>
                </c:pt>
                <c:pt idx="142">
                  <c:v>42.036178233395709</c:v>
                </c:pt>
                <c:pt idx="143">
                  <c:v>44.748189732324462</c:v>
                </c:pt>
                <c:pt idx="144">
                  <c:v>47.686202189497287</c:v>
                </c:pt>
                <c:pt idx="145">
                  <c:v>50.624214646670104</c:v>
                </c:pt>
                <c:pt idx="146">
                  <c:v>54.014229020331044</c:v>
                </c:pt>
                <c:pt idx="147">
                  <c:v>57.630244352236055</c:v>
                </c:pt>
                <c:pt idx="148">
                  <c:v>61.246259684141066</c:v>
                </c:pt>
                <c:pt idx="149">
                  <c:v>65.088275974290127</c:v>
                </c:pt>
                <c:pt idx="150">
                  <c:v>69.382294180927317</c:v>
                </c:pt>
                <c:pt idx="151">
                  <c:v>73.902313345808579</c:v>
                </c:pt>
                <c:pt idx="152">
                  <c:v>78.87433442717797</c:v>
                </c:pt>
                <c:pt idx="153">
                  <c:v>83.846355508547362</c:v>
                </c:pt>
                <c:pt idx="154">
                  <c:v>89.04437754816081</c:v>
                </c:pt>
                <c:pt idx="155">
                  <c:v>94.920402462506445</c:v>
                </c:pt>
                <c:pt idx="156">
                  <c:v>101.02242833509615</c:v>
                </c:pt>
                <c:pt idx="157">
                  <c:v>107.3504551659299</c:v>
                </c:pt>
                <c:pt idx="158">
                  <c:v>114.13048391325179</c:v>
                </c:pt>
                <c:pt idx="159">
                  <c:v>121.36251457706182</c:v>
                </c:pt>
                <c:pt idx="160">
                  <c:v>129.27254811560402</c:v>
                </c:pt>
                <c:pt idx="161">
                  <c:v>137.63458357063436</c:v>
                </c:pt>
                <c:pt idx="162">
                  <c:v>146.44862094215279</c:v>
                </c:pt>
                <c:pt idx="163">
                  <c:v>155.94066118840345</c:v>
                </c:pt>
                <c:pt idx="164">
                  <c:v>165.88470335114221</c:v>
                </c:pt>
                <c:pt idx="165">
                  <c:v>176.50674838861318</c:v>
                </c:pt>
                <c:pt idx="166">
                  <c:v>187.80679630081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C96-4C9B-A802-3CE62B6AE08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11.978050786935336</c:v>
                </c:pt>
                <c:pt idx="123">
                  <c:v>12.656053661667526</c:v>
                </c:pt>
                <c:pt idx="124">
                  <c:v>13.334056536399714</c:v>
                </c:pt>
                <c:pt idx="125">
                  <c:v>14.238060369375967</c:v>
                </c:pt>
                <c:pt idx="126">
                  <c:v>15.14206420235222</c:v>
                </c:pt>
                <c:pt idx="127">
                  <c:v>16.046068035328467</c:v>
                </c:pt>
                <c:pt idx="128">
                  <c:v>17.176072826548783</c:v>
                </c:pt>
                <c:pt idx="129">
                  <c:v>18.306077617769098</c:v>
                </c:pt>
                <c:pt idx="130">
                  <c:v>19.436082408989414</c:v>
                </c:pt>
                <c:pt idx="131">
                  <c:v>20.792088158453794</c:v>
                </c:pt>
                <c:pt idx="132">
                  <c:v>22.14809390791817</c:v>
                </c:pt>
                <c:pt idx="133">
                  <c:v>23.956101573870672</c:v>
                </c:pt>
                <c:pt idx="134">
                  <c:v>25.990110198067239</c:v>
                </c:pt>
                <c:pt idx="135">
                  <c:v>28.25011978050787</c:v>
                </c:pt>
                <c:pt idx="136">
                  <c:v>30.736130321192558</c:v>
                </c:pt>
                <c:pt idx="137">
                  <c:v>33.448141820121315</c:v>
                </c:pt>
                <c:pt idx="138">
                  <c:v>36.386154277294139</c:v>
                </c:pt>
                <c:pt idx="139">
                  <c:v>39.776168650955078</c:v>
                </c:pt>
                <c:pt idx="140">
                  <c:v>43.618184941104154</c:v>
                </c:pt>
                <c:pt idx="141">
                  <c:v>47.686202189497287</c:v>
                </c:pt>
                <c:pt idx="142">
                  <c:v>51.980220396134477</c:v>
                </c:pt>
                <c:pt idx="143">
                  <c:v>56.726240519259804</c:v>
                </c:pt>
                <c:pt idx="144">
                  <c:v>61.924262558873252</c:v>
                </c:pt>
                <c:pt idx="145">
                  <c:v>67.800287473218887</c:v>
                </c:pt>
                <c:pt idx="146">
                  <c:v>74.128314304052651</c:v>
                </c:pt>
                <c:pt idx="147">
                  <c:v>80.682342093130472</c:v>
                </c:pt>
                <c:pt idx="148">
                  <c:v>87.914372756940494</c:v>
                </c:pt>
                <c:pt idx="149">
                  <c:v>95.824406295482689</c:v>
                </c:pt>
                <c:pt idx="150">
                  <c:v>104.41244270875708</c:v>
                </c:pt>
                <c:pt idx="151">
                  <c:v>113.90448295500774</c:v>
                </c:pt>
                <c:pt idx="152">
                  <c:v>124.07452607599056</c:v>
                </c:pt>
                <c:pt idx="153">
                  <c:v>135.14857302994963</c:v>
                </c:pt>
                <c:pt idx="154">
                  <c:v>145.7706180674206</c:v>
                </c:pt>
                <c:pt idx="155">
                  <c:v>156.39266310489157</c:v>
                </c:pt>
                <c:pt idx="156">
                  <c:v>167.46671005885065</c:v>
                </c:pt>
                <c:pt idx="157">
                  <c:v>179.21875988754192</c:v>
                </c:pt>
                <c:pt idx="158">
                  <c:v>191.19681067447726</c:v>
                </c:pt>
                <c:pt idx="159">
                  <c:v>203.40086241965668</c:v>
                </c:pt>
                <c:pt idx="160">
                  <c:v>215.60491416483606</c:v>
                </c:pt>
                <c:pt idx="161">
                  <c:v>229.39097261772389</c:v>
                </c:pt>
                <c:pt idx="162">
                  <c:v>244.30703586183208</c:v>
                </c:pt>
                <c:pt idx="163">
                  <c:v>260.35310389716051</c:v>
                </c:pt>
                <c:pt idx="164">
                  <c:v>277.07717480722118</c:v>
                </c:pt>
                <c:pt idx="165">
                  <c:v>294.70524955025809</c:v>
                </c:pt>
                <c:pt idx="166">
                  <c:v>313.23732812627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C96-4C9B-A802-3CE62B6A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39</c:v>
                </c:pt>
                <c:pt idx="1">
                  <c:v>15</c:v>
                </c:pt>
                <c:pt idx="2">
                  <c:v>31</c:v>
                </c:pt>
                <c:pt idx="3">
                  <c:v>38</c:v>
                </c:pt>
                <c:pt idx="4">
                  <c:v>45</c:v>
                </c:pt>
                <c:pt idx="5">
                  <c:v>25</c:v>
                </c:pt>
                <c:pt idx="6">
                  <c:v>40</c:v>
                </c:pt>
                <c:pt idx="7">
                  <c:v>11</c:v>
                </c:pt>
                <c:pt idx="8">
                  <c:v>23</c:v>
                </c:pt>
                <c:pt idx="9">
                  <c:v>17</c:v>
                </c:pt>
                <c:pt idx="10">
                  <c:v>27</c:v>
                </c:pt>
                <c:pt idx="11">
                  <c:v>29</c:v>
                </c:pt>
                <c:pt idx="12">
                  <c:v>33</c:v>
                </c:pt>
                <c:pt idx="13">
                  <c:v>23</c:v>
                </c:pt>
                <c:pt idx="14">
                  <c:v>10</c:v>
                </c:pt>
                <c:pt idx="15">
                  <c:v>17</c:v>
                </c:pt>
                <c:pt idx="16">
                  <c:v>25</c:v>
                </c:pt>
                <c:pt idx="17">
                  <c:v>29</c:v>
                </c:pt>
                <c:pt idx="18">
                  <c:v>8</c:v>
                </c:pt>
                <c:pt idx="19">
                  <c:v>21</c:v>
                </c:pt>
                <c:pt idx="20">
                  <c:v>11</c:v>
                </c:pt>
                <c:pt idx="21">
                  <c:v>10</c:v>
                </c:pt>
                <c:pt idx="22">
                  <c:v>9</c:v>
                </c:pt>
                <c:pt idx="23">
                  <c:v>9</c:v>
                </c:pt>
                <c:pt idx="24">
                  <c:v>12</c:v>
                </c:pt>
                <c:pt idx="25">
                  <c:v>13</c:v>
                </c:pt>
                <c:pt idx="26">
                  <c:v>9</c:v>
                </c:pt>
                <c:pt idx="27">
                  <c:v>13</c:v>
                </c:pt>
                <c:pt idx="28">
                  <c:v>1</c:v>
                </c:pt>
                <c:pt idx="29">
                  <c:v>3</c:v>
                </c:pt>
                <c:pt idx="30">
                  <c:v>6</c:v>
                </c:pt>
                <c:pt idx="31">
                  <c:v>10</c:v>
                </c:pt>
                <c:pt idx="32">
                  <c:v>8</c:v>
                </c:pt>
                <c:pt idx="33">
                  <c:v>8</c:v>
                </c:pt>
                <c:pt idx="34">
                  <c:v>7</c:v>
                </c:pt>
                <c:pt idx="35">
                  <c:v>2</c:v>
                </c:pt>
                <c:pt idx="36">
                  <c:v>0</c:v>
                </c:pt>
                <c:pt idx="37">
                  <c:v>2</c:v>
                </c:pt>
                <c:pt idx="38">
                  <c:v>4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3</c:v>
                </c:pt>
                <c:pt idx="43">
                  <c:v>0</c:v>
                </c:pt>
                <c:pt idx="44">
                  <c:v>5</c:v>
                </c:pt>
                <c:pt idx="45">
                  <c:v>4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3</c:v>
                </c:pt>
                <c:pt idx="59">
                  <c:v>0</c:v>
                </c:pt>
                <c:pt idx="60">
                  <c:v>0</c:v>
                </c:pt>
                <c:pt idx="61">
                  <c:v>3</c:v>
                </c:pt>
                <c:pt idx="62">
                  <c:v>2</c:v>
                </c:pt>
                <c:pt idx="63">
                  <c:v>2</c:v>
                </c:pt>
                <c:pt idx="64">
                  <c:v>1</c:v>
                </c:pt>
                <c:pt idx="65">
                  <c:v>3</c:v>
                </c:pt>
                <c:pt idx="66">
                  <c:v>3</c:v>
                </c:pt>
                <c:pt idx="67">
                  <c:v>2</c:v>
                </c:pt>
                <c:pt idx="68">
                  <c:v>13</c:v>
                </c:pt>
                <c:pt idx="69">
                  <c:v>3</c:v>
                </c:pt>
                <c:pt idx="70">
                  <c:v>3</c:v>
                </c:pt>
                <c:pt idx="71">
                  <c:v>4</c:v>
                </c:pt>
                <c:pt idx="72">
                  <c:v>3</c:v>
                </c:pt>
                <c:pt idx="73">
                  <c:v>11</c:v>
                </c:pt>
                <c:pt idx="74">
                  <c:v>5</c:v>
                </c:pt>
                <c:pt idx="75">
                  <c:v>10</c:v>
                </c:pt>
                <c:pt idx="76">
                  <c:v>3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8</c:v>
                </c:pt>
                <c:pt idx="81">
                  <c:v>5</c:v>
                </c:pt>
                <c:pt idx="82">
                  <c:v>5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6</c:v>
                </c:pt>
                <c:pt idx="87">
                  <c:v>8</c:v>
                </c:pt>
                <c:pt idx="88">
                  <c:v>10</c:v>
                </c:pt>
                <c:pt idx="89">
                  <c:v>14</c:v>
                </c:pt>
                <c:pt idx="90">
                  <c:v>7</c:v>
                </c:pt>
                <c:pt idx="91">
                  <c:v>5</c:v>
                </c:pt>
                <c:pt idx="92">
                  <c:v>7</c:v>
                </c:pt>
                <c:pt idx="93">
                  <c:v>6</c:v>
                </c:pt>
                <c:pt idx="94">
                  <c:v>6</c:v>
                </c:pt>
                <c:pt idx="95">
                  <c:v>15</c:v>
                </c:pt>
                <c:pt idx="96">
                  <c:v>4</c:v>
                </c:pt>
                <c:pt idx="97">
                  <c:v>7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5</c:v>
                </c:pt>
                <c:pt idx="103">
                  <c:v>8</c:v>
                </c:pt>
                <c:pt idx="104">
                  <c:v>7</c:v>
                </c:pt>
                <c:pt idx="105">
                  <c:v>2</c:v>
                </c:pt>
                <c:pt idx="106">
                  <c:v>2</c:v>
                </c:pt>
                <c:pt idx="107">
                  <c:v>9</c:v>
                </c:pt>
                <c:pt idx="108">
                  <c:v>7</c:v>
                </c:pt>
                <c:pt idx="109">
                  <c:v>8</c:v>
                </c:pt>
                <c:pt idx="110">
                  <c:v>0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4</c:v>
                </c:pt>
                <c:pt idx="117">
                  <c:v>7</c:v>
                </c:pt>
                <c:pt idx="118">
                  <c:v>1</c:v>
                </c:pt>
                <c:pt idx="119">
                  <c:v>4</c:v>
                </c:pt>
                <c:pt idx="120">
                  <c:v>0</c:v>
                </c:pt>
                <c:pt idx="121">
                  <c:v>3</c:v>
                </c:pt>
                <c:pt idx="122">
                  <c:v>7</c:v>
                </c:pt>
                <c:pt idx="123">
                  <c:v>2</c:v>
                </c:pt>
                <c:pt idx="124">
                  <c:v>10</c:v>
                </c:pt>
                <c:pt idx="125">
                  <c:v>6</c:v>
                </c:pt>
                <c:pt idx="126">
                  <c:v>4</c:v>
                </c:pt>
                <c:pt idx="127">
                  <c:v>4</c:v>
                </c:pt>
                <c:pt idx="128">
                  <c:v>10</c:v>
                </c:pt>
                <c:pt idx="129">
                  <c:v>13</c:v>
                </c:pt>
                <c:pt idx="130">
                  <c:v>21</c:v>
                </c:pt>
                <c:pt idx="131">
                  <c:v>14</c:v>
                </c:pt>
                <c:pt idx="132">
                  <c:v>14</c:v>
                </c:pt>
                <c:pt idx="133">
                  <c:v>8</c:v>
                </c:pt>
                <c:pt idx="134">
                  <c:v>7</c:v>
                </c:pt>
                <c:pt idx="135">
                  <c:v>13</c:v>
                </c:pt>
                <c:pt idx="136">
                  <c:v>12</c:v>
                </c:pt>
                <c:pt idx="137">
                  <c:v>13</c:v>
                </c:pt>
                <c:pt idx="138">
                  <c:v>9</c:v>
                </c:pt>
                <c:pt idx="139">
                  <c:v>14</c:v>
                </c:pt>
                <c:pt idx="140">
                  <c:v>8</c:v>
                </c:pt>
                <c:pt idx="141">
                  <c:v>1</c:v>
                </c:pt>
                <c:pt idx="142">
                  <c:v>5</c:v>
                </c:pt>
                <c:pt idx="143">
                  <c:v>11</c:v>
                </c:pt>
                <c:pt idx="144">
                  <c:v>13</c:v>
                </c:pt>
                <c:pt idx="145">
                  <c:v>7</c:v>
                </c:pt>
                <c:pt idx="146">
                  <c:v>4</c:v>
                </c:pt>
                <c:pt idx="147">
                  <c:v>5</c:v>
                </c:pt>
                <c:pt idx="148">
                  <c:v>4</c:v>
                </c:pt>
                <c:pt idx="149">
                  <c:v>10</c:v>
                </c:pt>
                <c:pt idx="150">
                  <c:v>8</c:v>
                </c:pt>
                <c:pt idx="151">
                  <c:v>10</c:v>
                </c:pt>
                <c:pt idx="152">
                  <c:v>24</c:v>
                </c:pt>
                <c:pt idx="153">
                  <c:v>19</c:v>
                </c:pt>
                <c:pt idx="154">
                  <c:v>7</c:v>
                </c:pt>
                <c:pt idx="155">
                  <c:v>7</c:v>
                </c:pt>
                <c:pt idx="156">
                  <c:v>20</c:v>
                </c:pt>
                <c:pt idx="157">
                  <c:v>23</c:v>
                </c:pt>
                <c:pt idx="158">
                  <c:v>17</c:v>
                </c:pt>
                <c:pt idx="159">
                  <c:v>16</c:v>
                </c:pt>
                <c:pt idx="160">
                  <c:v>8</c:v>
                </c:pt>
                <c:pt idx="161">
                  <c:v>17</c:v>
                </c:pt>
                <c:pt idx="162">
                  <c:v>12</c:v>
                </c:pt>
                <c:pt idx="163">
                  <c:v>24</c:v>
                </c:pt>
                <c:pt idx="164">
                  <c:v>33</c:v>
                </c:pt>
                <c:pt idx="165">
                  <c:v>20</c:v>
                </c:pt>
                <c:pt idx="166">
                  <c:v>22</c:v>
                </c:pt>
                <c:pt idx="167">
                  <c:v>26</c:v>
                </c:pt>
                <c:pt idx="168">
                  <c:v>7</c:v>
                </c:pt>
                <c:pt idx="169">
                  <c:v>17</c:v>
                </c:pt>
                <c:pt idx="170">
                  <c:v>40</c:v>
                </c:pt>
                <c:pt idx="171">
                  <c:v>52</c:v>
                </c:pt>
                <c:pt idx="172">
                  <c:v>52</c:v>
                </c:pt>
                <c:pt idx="173">
                  <c:v>99</c:v>
                </c:pt>
                <c:pt idx="174">
                  <c:v>68</c:v>
                </c:pt>
                <c:pt idx="175">
                  <c:v>46</c:v>
                </c:pt>
                <c:pt idx="176">
                  <c:v>72</c:v>
                </c:pt>
                <c:pt idx="177">
                  <c:v>103</c:v>
                </c:pt>
                <c:pt idx="178">
                  <c:v>103</c:v>
                </c:pt>
                <c:pt idx="179">
                  <c:v>75</c:v>
                </c:pt>
                <c:pt idx="180">
                  <c:v>85</c:v>
                </c:pt>
                <c:pt idx="181">
                  <c:v>176</c:v>
                </c:pt>
                <c:pt idx="182">
                  <c:v>75</c:v>
                </c:pt>
                <c:pt idx="183">
                  <c:v>121</c:v>
                </c:pt>
                <c:pt idx="184">
                  <c:v>197</c:v>
                </c:pt>
                <c:pt idx="185">
                  <c:v>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5-49AF-9DEC-B2DA325881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13</c:v>
                </c:pt>
                <c:pt idx="154">
                  <c:v>14</c:v>
                </c:pt>
                <c:pt idx="155">
                  <c:v>14</c:v>
                </c:pt>
                <c:pt idx="156">
                  <c:v>15</c:v>
                </c:pt>
                <c:pt idx="157">
                  <c:v>15</c:v>
                </c:pt>
                <c:pt idx="158">
                  <c:v>16</c:v>
                </c:pt>
                <c:pt idx="159">
                  <c:v>16</c:v>
                </c:pt>
                <c:pt idx="160">
                  <c:v>17</c:v>
                </c:pt>
                <c:pt idx="161">
                  <c:v>18</c:v>
                </c:pt>
                <c:pt idx="162">
                  <c:v>18</c:v>
                </c:pt>
                <c:pt idx="163">
                  <c:v>19</c:v>
                </c:pt>
                <c:pt idx="164">
                  <c:v>20</c:v>
                </c:pt>
                <c:pt idx="165">
                  <c:v>20</c:v>
                </c:pt>
                <c:pt idx="166">
                  <c:v>21</c:v>
                </c:pt>
                <c:pt idx="167">
                  <c:v>22</c:v>
                </c:pt>
                <c:pt idx="168">
                  <c:v>23</c:v>
                </c:pt>
                <c:pt idx="169">
                  <c:v>23</c:v>
                </c:pt>
                <c:pt idx="170">
                  <c:v>24</c:v>
                </c:pt>
                <c:pt idx="171">
                  <c:v>25</c:v>
                </c:pt>
                <c:pt idx="172">
                  <c:v>26</c:v>
                </c:pt>
                <c:pt idx="173">
                  <c:v>27</c:v>
                </c:pt>
                <c:pt idx="174">
                  <c:v>28</c:v>
                </c:pt>
                <c:pt idx="175">
                  <c:v>29</c:v>
                </c:pt>
                <c:pt idx="176">
                  <c:v>30</c:v>
                </c:pt>
                <c:pt idx="177">
                  <c:v>31</c:v>
                </c:pt>
                <c:pt idx="178">
                  <c:v>32</c:v>
                </c:pt>
                <c:pt idx="179">
                  <c:v>33</c:v>
                </c:pt>
                <c:pt idx="180">
                  <c:v>35</c:v>
                </c:pt>
                <c:pt idx="181">
                  <c:v>36</c:v>
                </c:pt>
                <c:pt idx="182">
                  <c:v>37</c:v>
                </c:pt>
                <c:pt idx="183">
                  <c:v>38</c:v>
                </c:pt>
                <c:pt idx="184">
                  <c:v>40</c:v>
                </c:pt>
                <c:pt idx="185">
                  <c:v>41</c:v>
                </c:pt>
                <c:pt idx="186">
                  <c:v>43</c:v>
                </c:pt>
                <c:pt idx="187">
                  <c:v>44</c:v>
                </c:pt>
                <c:pt idx="188">
                  <c:v>46</c:v>
                </c:pt>
                <c:pt idx="189">
                  <c:v>47</c:v>
                </c:pt>
                <c:pt idx="190">
                  <c:v>49</c:v>
                </c:pt>
                <c:pt idx="191">
                  <c:v>51</c:v>
                </c:pt>
                <c:pt idx="192">
                  <c:v>53</c:v>
                </c:pt>
                <c:pt idx="193">
                  <c:v>54</c:v>
                </c:pt>
                <c:pt idx="194">
                  <c:v>56</c:v>
                </c:pt>
                <c:pt idx="195">
                  <c:v>58</c:v>
                </c:pt>
                <c:pt idx="196">
                  <c:v>60</c:v>
                </c:pt>
                <c:pt idx="197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5-49AF-9DEC-B2DA325881D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14</c:v>
                </c:pt>
                <c:pt idx="154">
                  <c:v>14</c:v>
                </c:pt>
                <c:pt idx="155">
                  <c:v>15</c:v>
                </c:pt>
                <c:pt idx="156">
                  <c:v>16</c:v>
                </c:pt>
                <c:pt idx="157">
                  <c:v>16</c:v>
                </c:pt>
                <c:pt idx="158">
                  <c:v>17</c:v>
                </c:pt>
                <c:pt idx="159">
                  <c:v>18</c:v>
                </c:pt>
                <c:pt idx="160">
                  <c:v>19</c:v>
                </c:pt>
                <c:pt idx="161">
                  <c:v>20</c:v>
                </c:pt>
                <c:pt idx="162">
                  <c:v>21</c:v>
                </c:pt>
                <c:pt idx="163">
                  <c:v>22</c:v>
                </c:pt>
                <c:pt idx="164">
                  <c:v>24</c:v>
                </c:pt>
                <c:pt idx="165">
                  <c:v>25</c:v>
                </c:pt>
                <c:pt idx="166">
                  <c:v>26</c:v>
                </c:pt>
                <c:pt idx="167">
                  <c:v>28</c:v>
                </c:pt>
                <c:pt idx="168">
                  <c:v>29</c:v>
                </c:pt>
                <c:pt idx="169">
                  <c:v>30</c:v>
                </c:pt>
                <c:pt idx="170">
                  <c:v>32</c:v>
                </c:pt>
                <c:pt idx="171">
                  <c:v>34</c:v>
                </c:pt>
                <c:pt idx="172">
                  <c:v>35</c:v>
                </c:pt>
                <c:pt idx="173">
                  <c:v>37</c:v>
                </c:pt>
                <c:pt idx="174">
                  <c:v>39</c:v>
                </c:pt>
                <c:pt idx="175">
                  <c:v>41</c:v>
                </c:pt>
                <c:pt idx="176">
                  <c:v>43</c:v>
                </c:pt>
                <c:pt idx="177">
                  <c:v>45</c:v>
                </c:pt>
                <c:pt idx="178">
                  <c:v>47</c:v>
                </c:pt>
                <c:pt idx="179">
                  <c:v>50</c:v>
                </c:pt>
                <c:pt idx="180">
                  <c:v>52</c:v>
                </c:pt>
                <c:pt idx="181">
                  <c:v>55</c:v>
                </c:pt>
                <c:pt idx="182">
                  <c:v>58</c:v>
                </c:pt>
                <c:pt idx="183">
                  <c:v>61</c:v>
                </c:pt>
                <c:pt idx="184">
                  <c:v>64</c:v>
                </c:pt>
                <c:pt idx="185">
                  <c:v>67</c:v>
                </c:pt>
                <c:pt idx="186">
                  <c:v>70</c:v>
                </c:pt>
                <c:pt idx="187">
                  <c:v>74</c:v>
                </c:pt>
                <c:pt idx="188">
                  <c:v>77</c:v>
                </c:pt>
                <c:pt idx="189">
                  <c:v>81</c:v>
                </c:pt>
                <c:pt idx="190">
                  <c:v>85</c:v>
                </c:pt>
                <c:pt idx="191">
                  <c:v>90</c:v>
                </c:pt>
                <c:pt idx="192">
                  <c:v>94</c:v>
                </c:pt>
                <c:pt idx="193">
                  <c:v>99</c:v>
                </c:pt>
                <c:pt idx="194">
                  <c:v>104</c:v>
                </c:pt>
                <c:pt idx="195">
                  <c:v>109</c:v>
                </c:pt>
                <c:pt idx="196">
                  <c:v>114</c:v>
                </c:pt>
                <c:pt idx="197">
                  <c:v>1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215-49AF-9DEC-B2DA325881D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14</c:v>
                </c:pt>
                <c:pt idx="154">
                  <c:v>15</c:v>
                </c:pt>
                <c:pt idx="155">
                  <c:v>16</c:v>
                </c:pt>
                <c:pt idx="156">
                  <c:v>17</c:v>
                </c:pt>
                <c:pt idx="157">
                  <c:v>18</c:v>
                </c:pt>
                <c:pt idx="158">
                  <c:v>19</c:v>
                </c:pt>
                <c:pt idx="159">
                  <c:v>21</c:v>
                </c:pt>
                <c:pt idx="160">
                  <c:v>22</c:v>
                </c:pt>
                <c:pt idx="161">
                  <c:v>23</c:v>
                </c:pt>
                <c:pt idx="162">
                  <c:v>25</c:v>
                </c:pt>
                <c:pt idx="163">
                  <c:v>26</c:v>
                </c:pt>
                <c:pt idx="164">
                  <c:v>28</c:v>
                </c:pt>
                <c:pt idx="165">
                  <c:v>30</c:v>
                </c:pt>
                <c:pt idx="166">
                  <c:v>32</c:v>
                </c:pt>
                <c:pt idx="167">
                  <c:v>34</c:v>
                </c:pt>
                <c:pt idx="168">
                  <c:v>36</c:v>
                </c:pt>
                <c:pt idx="169">
                  <c:v>39</c:v>
                </c:pt>
                <c:pt idx="170">
                  <c:v>41</c:v>
                </c:pt>
                <c:pt idx="171">
                  <c:v>44</c:v>
                </c:pt>
                <c:pt idx="172">
                  <c:v>47</c:v>
                </c:pt>
                <c:pt idx="173">
                  <c:v>50</c:v>
                </c:pt>
                <c:pt idx="174">
                  <c:v>53</c:v>
                </c:pt>
                <c:pt idx="175">
                  <c:v>56</c:v>
                </c:pt>
                <c:pt idx="176">
                  <c:v>60</c:v>
                </c:pt>
                <c:pt idx="177">
                  <c:v>64</c:v>
                </c:pt>
                <c:pt idx="178">
                  <c:v>68</c:v>
                </c:pt>
                <c:pt idx="179">
                  <c:v>72</c:v>
                </c:pt>
                <c:pt idx="180">
                  <c:v>77</c:v>
                </c:pt>
                <c:pt idx="181">
                  <c:v>82</c:v>
                </c:pt>
                <c:pt idx="182">
                  <c:v>87</c:v>
                </c:pt>
                <c:pt idx="183">
                  <c:v>93</c:v>
                </c:pt>
                <c:pt idx="184">
                  <c:v>99</c:v>
                </c:pt>
                <c:pt idx="185">
                  <c:v>105</c:v>
                </c:pt>
                <c:pt idx="186">
                  <c:v>112</c:v>
                </c:pt>
                <c:pt idx="187">
                  <c:v>119</c:v>
                </c:pt>
                <c:pt idx="188">
                  <c:v>127</c:v>
                </c:pt>
                <c:pt idx="189">
                  <c:v>135</c:v>
                </c:pt>
                <c:pt idx="190">
                  <c:v>143</c:v>
                </c:pt>
                <c:pt idx="191">
                  <c:v>153</c:v>
                </c:pt>
                <c:pt idx="192">
                  <c:v>162</c:v>
                </c:pt>
                <c:pt idx="193">
                  <c:v>173</c:v>
                </c:pt>
                <c:pt idx="194">
                  <c:v>184</c:v>
                </c:pt>
                <c:pt idx="195">
                  <c:v>195</c:v>
                </c:pt>
                <c:pt idx="196">
                  <c:v>208</c:v>
                </c:pt>
                <c:pt idx="197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215-49AF-9DEC-B2DA325881D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14</c:v>
                </c:pt>
                <c:pt idx="154">
                  <c:v>15</c:v>
                </c:pt>
                <c:pt idx="155">
                  <c:v>16</c:v>
                </c:pt>
                <c:pt idx="156">
                  <c:v>17</c:v>
                </c:pt>
                <c:pt idx="157">
                  <c:v>18</c:v>
                </c:pt>
                <c:pt idx="158">
                  <c:v>19</c:v>
                </c:pt>
                <c:pt idx="159">
                  <c:v>21</c:v>
                </c:pt>
                <c:pt idx="160">
                  <c:v>22</c:v>
                </c:pt>
                <c:pt idx="161">
                  <c:v>23</c:v>
                </c:pt>
                <c:pt idx="162">
                  <c:v>25</c:v>
                </c:pt>
                <c:pt idx="163">
                  <c:v>26</c:v>
                </c:pt>
                <c:pt idx="164">
                  <c:v>30</c:v>
                </c:pt>
                <c:pt idx="165">
                  <c:v>33</c:v>
                </c:pt>
                <c:pt idx="166">
                  <c:v>36</c:v>
                </c:pt>
                <c:pt idx="167">
                  <c:v>39</c:v>
                </c:pt>
                <c:pt idx="168">
                  <c:v>42</c:v>
                </c:pt>
                <c:pt idx="169">
                  <c:v>46</c:v>
                </c:pt>
                <c:pt idx="170">
                  <c:v>50</c:v>
                </c:pt>
                <c:pt idx="171">
                  <c:v>55</c:v>
                </c:pt>
                <c:pt idx="172">
                  <c:v>60</c:v>
                </c:pt>
                <c:pt idx="173">
                  <c:v>65</c:v>
                </c:pt>
                <c:pt idx="174">
                  <c:v>71</c:v>
                </c:pt>
                <c:pt idx="175">
                  <c:v>78</c:v>
                </c:pt>
                <c:pt idx="176">
                  <c:v>85</c:v>
                </c:pt>
                <c:pt idx="177">
                  <c:v>93</c:v>
                </c:pt>
                <c:pt idx="178">
                  <c:v>101</c:v>
                </c:pt>
                <c:pt idx="179">
                  <c:v>110</c:v>
                </c:pt>
                <c:pt idx="180">
                  <c:v>120</c:v>
                </c:pt>
                <c:pt idx="181">
                  <c:v>131</c:v>
                </c:pt>
                <c:pt idx="182">
                  <c:v>143</c:v>
                </c:pt>
                <c:pt idx="183">
                  <c:v>156</c:v>
                </c:pt>
                <c:pt idx="184">
                  <c:v>170</c:v>
                </c:pt>
                <c:pt idx="185">
                  <c:v>174</c:v>
                </c:pt>
                <c:pt idx="186">
                  <c:v>184</c:v>
                </c:pt>
                <c:pt idx="187">
                  <c:v>197</c:v>
                </c:pt>
                <c:pt idx="188">
                  <c:v>213</c:v>
                </c:pt>
                <c:pt idx="189">
                  <c:v>227</c:v>
                </c:pt>
                <c:pt idx="190">
                  <c:v>241</c:v>
                </c:pt>
                <c:pt idx="191">
                  <c:v>255</c:v>
                </c:pt>
                <c:pt idx="192">
                  <c:v>269</c:v>
                </c:pt>
                <c:pt idx="193">
                  <c:v>288</c:v>
                </c:pt>
                <c:pt idx="194">
                  <c:v>307</c:v>
                </c:pt>
                <c:pt idx="195">
                  <c:v>327</c:v>
                </c:pt>
                <c:pt idx="196">
                  <c:v>347</c:v>
                </c:pt>
                <c:pt idx="197">
                  <c:v>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215-49AF-9DEC-B2DA32588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B7-42F9-96E3-A51B38B8C2B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9.985421284924012</c:v>
                </c:pt>
                <c:pt idx="1">
                  <c:v>9.0776557135672835</c:v>
                </c:pt>
                <c:pt idx="2">
                  <c:v>8.8961025992959382</c:v>
                </c:pt>
                <c:pt idx="3">
                  <c:v>7.8067839136678634</c:v>
                </c:pt>
                <c:pt idx="4">
                  <c:v>7.9883370279392087</c:v>
                </c:pt>
                <c:pt idx="5">
                  <c:v>7.4436776851251718</c:v>
                </c:pt>
                <c:pt idx="6">
                  <c:v>6.7174652280397895</c:v>
                </c:pt>
                <c:pt idx="7">
                  <c:v>5.6281465424117156</c:v>
                </c:pt>
                <c:pt idx="8">
                  <c:v>4.7203809710549871</c:v>
                </c:pt>
                <c:pt idx="9">
                  <c:v>3.4495091711555674</c:v>
                </c:pt>
                <c:pt idx="10">
                  <c:v>2.7232967140701847</c:v>
                </c:pt>
                <c:pt idx="11">
                  <c:v>2.9048498283415305</c:v>
                </c:pt>
                <c:pt idx="12">
                  <c:v>2.9048498283415305</c:v>
                </c:pt>
                <c:pt idx="13">
                  <c:v>3.4495091711555674</c:v>
                </c:pt>
                <c:pt idx="14">
                  <c:v>3.4495091711555674</c:v>
                </c:pt>
                <c:pt idx="15">
                  <c:v>3.0864029426128758</c:v>
                </c:pt>
                <c:pt idx="16">
                  <c:v>3.2679560568842216</c:v>
                </c:pt>
                <c:pt idx="17">
                  <c:v>3.0864029426128758</c:v>
                </c:pt>
                <c:pt idx="18">
                  <c:v>2.7232967140701847</c:v>
                </c:pt>
                <c:pt idx="19">
                  <c:v>2.7232967140701847</c:v>
                </c:pt>
                <c:pt idx="20">
                  <c:v>1.9970842569848022</c:v>
                </c:pt>
                <c:pt idx="21">
                  <c:v>1.2708717998994197</c:v>
                </c:pt>
                <c:pt idx="22">
                  <c:v>1.0893186856280739</c:v>
                </c:pt>
                <c:pt idx="23">
                  <c:v>0.72621245708538262</c:v>
                </c:pt>
                <c:pt idx="24">
                  <c:v>0.72621245708538262</c:v>
                </c:pt>
                <c:pt idx="25">
                  <c:v>0.72621245708538262</c:v>
                </c:pt>
                <c:pt idx="26">
                  <c:v>0.90776557135672831</c:v>
                </c:pt>
                <c:pt idx="27">
                  <c:v>1.2708717998994197</c:v>
                </c:pt>
                <c:pt idx="28">
                  <c:v>1.2708717998994197</c:v>
                </c:pt>
                <c:pt idx="29">
                  <c:v>1.2708717998994197</c:v>
                </c:pt>
                <c:pt idx="30">
                  <c:v>1.8155311427134566</c:v>
                </c:pt>
                <c:pt idx="31">
                  <c:v>1.8155311427134566</c:v>
                </c:pt>
                <c:pt idx="32">
                  <c:v>1.9970842569848022</c:v>
                </c:pt>
                <c:pt idx="33">
                  <c:v>1.9970842569848022</c:v>
                </c:pt>
                <c:pt idx="34">
                  <c:v>1.9970842569848022</c:v>
                </c:pt>
                <c:pt idx="35">
                  <c:v>2.5417435997988393</c:v>
                </c:pt>
                <c:pt idx="36">
                  <c:v>2.9048498283415305</c:v>
                </c:pt>
                <c:pt idx="37">
                  <c:v>4.7203809710549871</c:v>
                </c:pt>
                <c:pt idx="38">
                  <c:v>4.9019340853263325</c:v>
                </c:pt>
                <c:pt idx="39">
                  <c:v>5.0834871995976787</c:v>
                </c:pt>
                <c:pt idx="40">
                  <c:v>5.6281465424117156</c:v>
                </c:pt>
                <c:pt idx="41">
                  <c:v>5.6281465424117156</c:v>
                </c:pt>
                <c:pt idx="42">
                  <c:v>7.0805714565824802</c:v>
                </c:pt>
                <c:pt idx="43">
                  <c:v>7.6252307993965172</c:v>
                </c:pt>
                <c:pt idx="44">
                  <c:v>7.0805714565824802</c:v>
                </c:pt>
                <c:pt idx="45">
                  <c:v>7.0805714565824802</c:v>
                </c:pt>
                <c:pt idx="46">
                  <c:v>7.4436776851251718</c:v>
                </c:pt>
                <c:pt idx="47">
                  <c:v>7.0805714565824802</c:v>
                </c:pt>
                <c:pt idx="48">
                  <c:v>7.2621245708538265</c:v>
                </c:pt>
                <c:pt idx="49">
                  <c:v>6.7174652280397895</c:v>
                </c:pt>
                <c:pt idx="50">
                  <c:v>6.7174652280397895</c:v>
                </c:pt>
                <c:pt idx="51">
                  <c:v>5.809699656683061</c:v>
                </c:pt>
                <c:pt idx="52">
                  <c:v>5.4465934281403694</c:v>
                </c:pt>
                <c:pt idx="53">
                  <c:v>4.7203809710549871</c:v>
                </c:pt>
                <c:pt idx="54">
                  <c:v>4.5388278567836418</c:v>
                </c:pt>
                <c:pt idx="55">
                  <c:v>4.9019340853263325</c:v>
                </c:pt>
                <c:pt idx="56">
                  <c:v>4.9019340853263325</c:v>
                </c:pt>
                <c:pt idx="57">
                  <c:v>5.809699656683061</c:v>
                </c:pt>
                <c:pt idx="58">
                  <c:v>7.4436776851251718</c:v>
                </c:pt>
                <c:pt idx="59">
                  <c:v>8.5329963707532457</c:v>
                </c:pt>
                <c:pt idx="60">
                  <c:v>9.2592088278386289</c:v>
                </c:pt>
                <c:pt idx="61">
                  <c:v>10.348527513466703</c:v>
                </c:pt>
                <c:pt idx="62">
                  <c:v>10.348527513466703</c:v>
                </c:pt>
                <c:pt idx="63">
                  <c:v>9.985421284924012</c:v>
                </c:pt>
                <c:pt idx="64">
                  <c:v>10.893186856280739</c:v>
                </c:pt>
                <c:pt idx="65">
                  <c:v>9.0776557135672835</c:v>
                </c:pt>
                <c:pt idx="66">
                  <c:v>9.0776557135672835</c:v>
                </c:pt>
                <c:pt idx="67">
                  <c:v>8.714549485024591</c:v>
                </c:pt>
                <c:pt idx="68">
                  <c:v>7.9883370279392087</c:v>
                </c:pt>
                <c:pt idx="69">
                  <c:v>7.6252307993965172</c:v>
                </c:pt>
                <c:pt idx="70">
                  <c:v>7.0805714565824802</c:v>
                </c:pt>
                <c:pt idx="71">
                  <c:v>5.265040313869024</c:v>
                </c:pt>
                <c:pt idx="72">
                  <c:v>5.9912527709544063</c:v>
                </c:pt>
                <c:pt idx="73">
                  <c:v>5.9912527709544063</c:v>
                </c:pt>
                <c:pt idx="74">
                  <c:v>5.809699656683061</c:v>
                </c:pt>
                <c:pt idx="75">
                  <c:v>5.6281465424117156</c:v>
                </c:pt>
                <c:pt idx="76">
                  <c:v>6.5359121137684433</c:v>
                </c:pt>
                <c:pt idx="77">
                  <c:v>7.2621245708538265</c:v>
                </c:pt>
                <c:pt idx="78">
                  <c:v>7.8067839136678634</c:v>
                </c:pt>
                <c:pt idx="79">
                  <c:v>6.3543589994970979</c:v>
                </c:pt>
                <c:pt idx="80">
                  <c:v>5.6281465424117156</c:v>
                </c:pt>
                <c:pt idx="81">
                  <c:v>5.6281465424117156</c:v>
                </c:pt>
                <c:pt idx="82">
                  <c:v>5.809699656683061</c:v>
                </c:pt>
                <c:pt idx="83">
                  <c:v>5.0834871995976787</c:v>
                </c:pt>
                <c:pt idx="84">
                  <c:v>4.9019340853263325</c:v>
                </c:pt>
                <c:pt idx="85">
                  <c:v>4.1757216282409502</c:v>
                </c:pt>
                <c:pt idx="86">
                  <c:v>5.4465934281403694</c:v>
                </c:pt>
                <c:pt idx="87">
                  <c:v>5.0834871995976787</c:v>
                </c:pt>
                <c:pt idx="88">
                  <c:v>5.4465934281403694</c:v>
                </c:pt>
                <c:pt idx="89">
                  <c:v>4.9019340853263325</c:v>
                </c:pt>
                <c:pt idx="90">
                  <c:v>4.5388278567836418</c:v>
                </c:pt>
                <c:pt idx="91">
                  <c:v>4.7203809710549871</c:v>
                </c:pt>
                <c:pt idx="92">
                  <c:v>4.3572747425122955</c:v>
                </c:pt>
                <c:pt idx="93">
                  <c:v>4.9019340853263325</c:v>
                </c:pt>
                <c:pt idx="94">
                  <c:v>5.809699656683061</c:v>
                </c:pt>
                <c:pt idx="95">
                  <c:v>5.809699656683061</c:v>
                </c:pt>
                <c:pt idx="96">
                  <c:v>6.5359121137684433</c:v>
                </c:pt>
                <c:pt idx="97">
                  <c:v>7.8067839136678634</c:v>
                </c:pt>
                <c:pt idx="98">
                  <c:v>8.8961025992959382</c:v>
                </c:pt>
                <c:pt idx="99">
                  <c:v>12.345611770451503</c:v>
                </c:pt>
                <c:pt idx="100">
                  <c:v>13.071824227536887</c:v>
                </c:pt>
                <c:pt idx="101">
                  <c:v>14.524249141707653</c:v>
                </c:pt>
                <c:pt idx="102">
                  <c:v>15.250461598793034</c:v>
                </c:pt>
                <c:pt idx="103">
                  <c:v>15.795120941607072</c:v>
                </c:pt>
                <c:pt idx="104">
                  <c:v>16.33978028442111</c:v>
                </c:pt>
                <c:pt idx="105">
                  <c:v>16.158227170149765</c:v>
                </c:pt>
                <c:pt idx="106">
                  <c:v>14.705802255978998</c:v>
                </c:pt>
                <c:pt idx="107">
                  <c:v>13.79803668462227</c:v>
                </c:pt>
                <c:pt idx="108">
                  <c:v>13.79803668462227</c:v>
                </c:pt>
                <c:pt idx="109">
                  <c:v>13.79803668462227</c:v>
                </c:pt>
                <c:pt idx="110">
                  <c:v>12.708717998994196</c:v>
                </c:pt>
                <c:pt idx="111">
                  <c:v>11.256293084823431</c:v>
                </c:pt>
                <c:pt idx="112">
                  <c:v>11.074739970552086</c:v>
                </c:pt>
                <c:pt idx="113">
                  <c:v>11.074739970552086</c:v>
                </c:pt>
                <c:pt idx="114">
                  <c:v>10.711633742009393</c:v>
                </c:pt>
                <c:pt idx="115">
                  <c:v>8.8961025992959382</c:v>
                </c:pt>
                <c:pt idx="116">
                  <c:v>8.3514432564819003</c:v>
                </c:pt>
                <c:pt idx="117">
                  <c:v>8.8961025992959382</c:v>
                </c:pt>
                <c:pt idx="118">
                  <c:v>9.8038681706526649</c:v>
                </c:pt>
                <c:pt idx="119">
                  <c:v>9.2592088278386289</c:v>
                </c:pt>
                <c:pt idx="120">
                  <c:v>8.714549485024591</c:v>
                </c:pt>
                <c:pt idx="121">
                  <c:v>11.800952427637467</c:v>
                </c:pt>
                <c:pt idx="122">
                  <c:v>14.524249141707653</c:v>
                </c:pt>
                <c:pt idx="123">
                  <c:v>14.887355370250344</c:v>
                </c:pt>
                <c:pt idx="124">
                  <c:v>15.43201471306438</c:v>
                </c:pt>
                <c:pt idx="125">
                  <c:v>17.247545855777837</c:v>
                </c:pt>
                <c:pt idx="126">
                  <c:v>19.970842569848024</c:v>
                </c:pt>
                <c:pt idx="127">
                  <c:v>21.241714369747442</c:v>
                </c:pt>
                <c:pt idx="128">
                  <c:v>19.789289455576675</c:v>
                </c:pt>
                <c:pt idx="129">
                  <c:v>17.792205198591876</c:v>
                </c:pt>
                <c:pt idx="130">
                  <c:v>19.60773634130533</c:v>
                </c:pt>
                <c:pt idx="131">
                  <c:v>20.51550191266206</c:v>
                </c:pt>
                <c:pt idx="132">
                  <c:v>21.241714369747442</c:v>
                </c:pt>
                <c:pt idx="133">
                  <c:v>23.057245512460895</c:v>
                </c:pt>
                <c:pt idx="134">
                  <c:v>23.601904855274935</c:v>
                </c:pt>
                <c:pt idx="135">
                  <c:v>24.691223540903007</c:v>
                </c:pt>
                <c:pt idx="136">
                  <c:v>27.95917959778723</c:v>
                </c:pt>
                <c:pt idx="137">
                  <c:v>26.143648455073773</c:v>
                </c:pt>
                <c:pt idx="138">
                  <c:v>27.051414026430503</c:v>
                </c:pt>
                <c:pt idx="139">
                  <c:v>29.956263854772029</c:v>
                </c:pt>
                <c:pt idx="140">
                  <c:v>33.405773025927601</c:v>
                </c:pt>
                <c:pt idx="141">
                  <c:v>39.21547268261066</c:v>
                </c:pt>
                <c:pt idx="142">
                  <c:v>53.19506248150428</c:v>
                </c:pt>
                <c:pt idx="143">
                  <c:v>60.820293280900792</c:v>
                </c:pt>
                <c:pt idx="144">
                  <c:v>67.900864737483275</c:v>
                </c:pt>
                <c:pt idx="145">
                  <c:v>77.886286022407276</c:v>
                </c:pt>
                <c:pt idx="146">
                  <c:v>89.324132221502069</c:v>
                </c:pt>
                <c:pt idx="147">
                  <c:v>98.583341049340689</c:v>
                </c:pt>
                <c:pt idx="148">
                  <c:v>102.75906267758165</c:v>
                </c:pt>
                <c:pt idx="149">
                  <c:v>100.2173190777828</c:v>
                </c:pt>
                <c:pt idx="150">
                  <c:v>119.82505541908812</c:v>
                </c:pt>
                <c:pt idx="151">
                  <c:v>125.09009573295717</c:v>
                </c:pt>
                <c:pt idx="152">
                  <c:v>133.98619833225308</c:v>
                </c:pt>
                <c:pt idx="153">
                  <c:v>151.05219107375959</c:v>
                </c:pt>
                <c:pt idx="154">
                  <c:v>172.83856478632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B7-42F9-96E3-A51B38B8C2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11.800952427637467</c:v>
                </c:pt>
                <c:pt idx="123">
                  <c:v>12.345611770451503</c:v>
                </c:pt>
                <c:pt idx="124">
                  <c:v>12.708717998994196</c:v>
                </c:pt>
                <c:pt idx="125">
                  <c:v>13.253377341808232</c:v>
                </c:pt>
                <c:pt idx="126">
                  <c:v>13.79803668462227</c:v>
                </c:pt>
                <c:pt idx="127">
                  <c:v>14.342696027436306</c:v>
                </c:pt>
                <c:pt idx="128">
                  <c:v>14.887355370250344</c:v>
                </c:pt>
                <c:pt idx="129">
                  <c:v>15.613567827335727</c:v>
                </c:pt>
                <c:pt idx="130">
                  <c:v>16.158227170149765</c:v>
                </c:pt>
                <c:pt idx="131">
                  <c:v>16.884439627235146</c:v>
                </c:pt>
                <c:pt idx="132">
                  <c:v>17.429098970049182</c:v>
                </c:pt>
                <c:pt idx="133">
                  <c:v>18.155311427134567</c:v>
                </c:pt>
                <c:pt idx="134">
                  <c:v>18.6999707699486</c:v>
                </c:pt>
                <c:pt idx="135">
                  <c:v>19.426183227033984</c:v>
                </c:pt>
                <c:pt idx="136">
                  <c:v>20.152395684119369</c:v>
                </c:pt>
                <c:pt idx="137">
                  <c:v>20.878608141204747</c:v>
                </c:pt>
                <c:pt idx="138">
                  <c:v>21.604820598290132</c:v>
                </c:pt>
                <c:pt idx="139">
                  <c:v>22.512586169646863</c:v>
                </c:pt>
                <c:pt idx="140">
                  <c:v>23.238798626732244</c:v>
                </c:pt>
                <c:pt idx="141">
                  <c:v>24.146564198088971</c:v>
                </c:pt>
                <c:pt idx="142">
                  <c:v>25.054329769445701</c:v>
                </c:pt>
                <c:pt idx="143">
                  <c:v>25.780542226531082</c:v>
                </c:pt>
                <c:pt idx="144">
                  <c:v>26.688307797887813</c:v>
                </c:pt>
                <c:pt idx="145">
                  <c:v>27.596073369244539</c:v>
                </c:pt>
                <c:pt idx="146">
                  <c:v>28.50383894060127</c:v>
                </c:pt>
                <c:pt idx="147">
                  <c:v>29.593157626229338</c:v>
                </c:pt>
                <c:pt idx="148">
                  <c:v>30.682476311857418</c:v>
                </c:pt>
                <c:pt idx="149">
                  <c:v>31.771794997485486</c:v>
                </c:pt>
                <c:pt idx="150">
                  <c:v>33.042666797384904</c:v>
                </c:pt>
                <c:pt idx="151">
                  <c:v>34.313538597284328</c:v>
                </c:pt>
                <c:pt idx="152">
                  <c:v>35.584410397183753</c:v>
                </c:pt>
                <c:pt idx="153">
                  <c:v>36.85528219708317</c:v>
                </c:pt>
                <c:pt idx="154">
                  <c:v>38.126153996982588</c:v>
                </c:pt>
                <c:pt idx="155">
                  <c:v>39.397025796882005</c:v>
                </c:pt>
                <c:pt idx="156">
                  <c:v>40.66789759678143</c:v>
                </c:pt>
                <c:pt idx="157">
                  <c:v>42.120322510952192</c:v>
                </c:pt>
                <c:pt idx="158">
                  <c:v>43.572747425122955</c:v>
                </c:pt>
                <c:pt idx="159">
                  <c:v>45.025172339293725</c:v>
                </c:pt>
                <c:pt idx="160">
                  <c:v>46.659150367735833</c:v>
                </c:pt>
                <c:pt idx="161">
                  <c:v>48.293128396177941</c:v>
                </c:pt>
                <c:pt idx="162">
                  <c:v>50.108659538891402</c:v>
                </c:pt>
                <c:pt idx="163">
                  <c:v>51.924190681604863</c:v>
                </c:pt>
                <c:pt idx="164">
                  <c:v>53.739721824318316</c:v>
                </c:pt>
                <c:pt idx="165">
                  <c:v>55.555252967031763</c:v>
                </c:pt>
                <c:pt idx="166">
                  <c:v>57.5523372240165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B7-42F9-96E3-A51B38B8C2B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11.982505541908813</c:v>
                </c:pt>
                <c:pt idx="123">
                  <c:v>12.708717998994196</c:v>
                </c:pt>
                <c:pt idx="124">
                  <c:v>13.253377341808232</c:v>
                </c:pt>
                <c:pt idx="125">
                  <c:v>13.979589798893615</c:v>
                </c:pt>
                <c:pt idx="126">
                  <c:v>14.705802255978998</c:v>
                </c:pt>
                <c:pt idx="127">
                  <c:v>15.43201471306438</c:v>
                </c:pt>
                <c:pt idx="128">
                  <c:v>16.33978028442111</c:v>
                </c:pt>
                <c:pt idx="129">
                  <c:v>17.247545855777837</c:v>
                </c:pt>
                <c:pt idx="130">
                  <c:v>17.973758312863222</c:v>
                </c:pt>
                <c:pt idx="131">
                  <c:v>18.881523884219948</c:v>
                </c:pt>
                <c:pt idx="132">
                  <c:v>19.789289455576675</c:v>
                </c:pt>
                <c:pt idx="133">
                  <c:v>20.878608141204747</c:v>
                </c:pt>
                <c:pt idx="134">
                  <c:v>21.967926826832823</c:v>
                </c:pt>
                <c:pt idx="135">
                  <c:v>23.057245512460895</c:v>
                </c:pt>
                <c:pt idx="136">
                  <c:v>24.146564198088971</c:v>
                </c:pt>
                <c:pt idx="137">
                  <c:v>25.417435997988392</c:v>
                </c:pt>
                <c:pt idx="138">
                  <c:v>26.688307797887813</c:v>
                </c:pt>
                <c:pt idx="139">
                  <c:v>28.140732712058579</c:v>
                </c:pt>
                <c:pt idx="140">
                  <c:v>29.593157626229338</c:v>
                </c:pt>
                <c:pt idx="141">
                  <c:v>31.045582540400108</c:v>
                </c:pt>
                <c:pt idx="142">
                  <c:v>32.67956056884222</c:v>
                </c:pt>
                <c:pt idx="143">
                  <c:v>34.313538597284328</c:v>
                </c:pt>
                <c:pt idx="144">
                  <c:v>36.129069739997782</c:v>
                </c:pt>
                <c:pt idx="145">
                  <c:v>37.944600882711242</c:v>
                </c:pt>
                <c:pt idx="146">
                  <c:v>39.760132025424696</c:v>
                </c:pt>
                <c:pt idx="147">
                  <c:v>41.757216282409495</c:v>
                </c:pt>
                <c:pt idx="148">
                  <c:v>43.935853653665646</c:v>
                </c:pt>
                <c:pt idx="149">
                  <c:v>46.11449102492179</c:v>
                </c:pt>
                <c:pt idx="150">
                  <c:v>48.474681510449287</c:v>
                </c:pt>
                <c:pt idx="151">
                  <c:v>50.834871995976783</c:v>
                </c:pt>
                <c:pt idx="152">
                  <c:v>53.558168710046964</c:v>
                </c:pt>
                <c:pt idx="153">
                  <c:v>56.281465424117158</c:v>
                </c:pt>
                <c:pt idx="154">
                  <c:v>59.186315252458677</c:v>
                </c:pt>
                <c:pt idx="155">
                  <c:v>62.091165080800216</c:v>
                </c:pt>
                <c:pt idx="156">
                  <c:v>65.177568023413087</c:v>
                </c:pt>
                <c:pt idx="157">
                  <c:v>68.445524080297304</c:v>
                </c:pt>
                <c:pt idx="158">
                  <c:v>71.895033251452887</c:v>
                </c:pt>
                <c:pt idx="159">
                  <c:v>75.344542422608441</c:v>
                </c:pt>
                <c:pt idx="160">
                  <c:v>79.157157822306701</c:v>
                </c:pt>
                <c:pt idx="161">
                  <c:v>82.969773222004974</c:v>
                </c:pt>
                <c:pt idx="162">
                  <c:v>87.14549485024591</c:v>
                </c:pt>
                <c:pt idx="163">
                  <c:v>91.502769592758213</c:v>
                </c:pt>
                <c:pt idx="164">
                  <c:v>96.041597449541854</c:v>
                </c:pt>
                <c:pt idx="165">
                  <c:v>100.76197842059683</c:v>
                </c:pt>
                <c:pt idx="166">
                  <c:v>105.84546562019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B7-42F9-96E3-A51B38B8C2B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11.982505541908813</c:v>
                </c:pt>
                <c:pt idx="123">
                  <c:v>12.708717998994196</c:v>
                </c:pt>
                <c:pt idx="124">
                  <c:v>13.434930456079579</c:v>
                </c:pt>
                <c:pt idx="125">
                  <c:v>14.16114291316496</c:v>
                </c:pt>
                <c:pt idx="126">
                  <c:v>15.068908484521689</c:v>
                </c:pt>
                <c:pt idx="127">
                  <c:v>15.976674055878417</c:v>
                </c:pt>
                <c:pt idx="128">
                  <c:v>17.065992741506491</c:v>
                </c:pt>
                <c:pt idx="129">
                  <c:v>18.336864541405912</c:v>
                </c:pt>
                <c:pt idx="130">
                  <c:v>19.60773634130533</c:v>
                </c:pt>
                <c:pt idx="131">
                  <c:v>20.878608141204747</c:v>
                </c:pt>
                <c:pt idx="132">
                  <c:v>22.331033055375517</c:v>
                </c:pt>
                <c:pt idx="133">
                  <c:v>23.965011083817625</c:v>
                </c:pt>
                <c:pt idx="134">
                  <c:v>25.598989112259734</c:v>
                </c:pt>
                <c:pt idx="135">
                  <c:v>27.414520254973191</c:v>
                </c:pt>
                <c:pt idx="136">
                  <c:v>29.048498283415306</c:v>
                </c:pt>
                <c:pt idx="137">
                  <c:v>30.864029426128759</c:v>
                </c:pt>
                <c:pt idx="138">
                  <c:v>32.861113683113565</c:v>
                </c:pt>
                <c:pt idx="139">
                  <c:v>35.039751054369709</c:v>
                </c:pt>
                <c:pt idx="140">
                  <c:v>37.218388425625861</c:v>
                </c:pt>
                <c:pt idx="141">
                  <c:v>39.57857891115335</c:v>
                </c:pt>
                <c:pt idx="142">
                  <c:v>42.120322510952192</c:v>
                </c:pt>
                <c:pt idx="143">
                  <c:v>44.843619225022373</c:v>
                </c:pt>
                <c:pt idx="144">
                  <c:v>47.748469053363905</c:v>
                </c:pt>
                <c:pt idx="145">
                  <c:v>50.834871995976783</c:v>
                </c:pt>
                <c:pt idx="146">
                  <c:v>54.102828052861007</c:v>
                </c:pt>
                <c:pt idx="147">
                  <c:v>57.733890338287921</c:v>
                </c:pt>
                <c:pt idx="148">
                  <c:v>61.546505737986173</c:v>
                </c:pt>
                <c:pt idx="149">
                  <c:v>65.540674251955792</c:v>
                </c:pt>
                <c:pt idx="150">
                  <c:v>69.897948994468081</c:v>
                </c:pt>
                <c:pt idx="151">
                  <c:v>74.436776851251722</c:v>
                </c:pt>
                <c:pt idx="152">
                  <c:v>79.157157822306701</c:v>
                </c:pt>
                <c:pt idx="153">
                  <c:v>84.240645021904385</c:v>
                </c:pt>
                <c:pt idx="154">
                  <c:v>89.505685335773407</c:v>
                </c:pt>
                <c:pt idx="155">
                  <c:v>95.315384992456458</c:v>
                </c:pt>
                <c:pt idx="156">
                  <c:v>101.30663776341089</c:v>
                </c:pt>
                <c:pt idx="157">
                  <c:v>107.84254987717932</c:v>
                </c:pt>
                <c:pt idx="158">
                  <c:v>114.74156821949045</c:v>
                </c:pt>
                <c:pt idx="159">
                  <c:v>122.18524590461561</c:v>
                </c:pt>
                <c:pt idx="160">
                  <c:v>129.9920298182835</c:v>
                </c:pt>
                <c:pt idx="161">
                  <c:v>138.34347307476537</c:v>
                </c:pt>
                <c:pt idx="162">
                  <c:v>147.05802255978998</c:v>
                </c:pt>
                <c:pt idx="163">
                  <c:v>156.49878450189996</c:v>
                </c:pt>
                <c:pt idx="164">
                  <c:v>166.48420578682396</c:v>
                </c:pt>
                <c:pt idx="165">
                  <c:v>177.19583952883337</c:v>
                </c:pt>
                <c:pt idx="166">
                  <c:v>188.4521326136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B7-42F9-96E3-A51B38B8C2B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11.982505541908813</c:v>
                </c:pt>
                <c:pt idx="123">
                  <c:v>12.708717998994196</c:v>
                </c:pt>
                <c:pt idx="124">
                  <c:v>13.434930456079579</c:v>
                </c:pt>
                <c:pt idx="125">
                  <c:v>14.16114291316496</c:v>
                </c:pt>
                <c:pt idx="126">
                  <c:v>15.068908484521689</c:v>
                </c:pt>
                <c:pt idx="127">
                  <c:v>15.976674055878417</c:v>
                </c:pt>
                <c:pt idx="128">
                  <c:v>17.065992741506491</c:v>
                </c:pt>
                <c:pt idx="129">
                  <c:v>18.336864541405912</c:v>
                </c:pt>
                <c:pt idx="130">
                  <c:v>19.60773634130533</c:v>
                </c:pt>
                <c:pt idx="131">
                  <c:v>20.878608141204747</c:v>
                </c:pt>
                <c:pt idx="132">
                  <c:v>22.331033055375517</c:v>
                </c:pt>
                <c:pt idx="133">
                  <c:v>24.146564198088971</c:v>
                </c:pt>
                <c:pt idx="134">
                  <c:v>26.325201569345122</c:v>
                </c:pt>
                <c:pt idx="135">
                  <c:v>28.685392054872612</c:v>
                </c:pt>
                <c:pt idx="136">
                  <c:v>31.045582540400108</c:v>
                </c:pt>
                <c:pt idx="137">
                  <c:v>33.768879254470292</c:v>
                </c:pt>
                <c:pt idx="138">
                  <c:v>36.85528219708317</c:v>
                </c:pt>
                <c:pt idx="139">
                  <c:v>40.304791368238739</c:v>
                </c:pt>
                <c:pt idx="140">
                  <c:v>43.935853653665646</c:v>
                </c:pt>
                <c:pt idx="141">
                  <c:v>47.748469053363905</c:v>
                </c:pt>
                <c:pt idx="142">
                  <c:v>51.924190681604863</c:v>
                </c:pt>
                <c:pt idx="143">
                  <c:v>56.644571652659842</c:v>
                </c:pt>
                <c:pt idx="144">
                  <c:v>61.728058852257519</c:v>
                </c:pt>
                <c:pt idx="145">
                  <c:v>67.356205394669232</c:v>
                </c:pt>
                <c:pt idx="146">
                  <c:v>73.529011279894988</c:v>
                </c:pt>
                <c:pt idx="147">
                  <c:v>80.246476507934773</c:v>
                </c:pt>
                <c:pt idx="148">
                  <c:v>87.508601078788601</c:v>
                </c:pt>
                <c:pt idx="149">
                  <c:v>95.496938106727811</c:v>
                </c:pt>
                <c:pt idx="150">
                  <c:v>104.2114875917524</c:v>
                </c:pt>
                <c:pt idx="151">
                  <c:v>113.83380264813373</c:v>
                </c:pt>
                <c:pt idx="152">
                  <c:v>124.18233016160043</c:v>
                </c:pt>
                <c:pt idx="153">
                  <c:v>135.43862324642384</c:v>
                </c:pt>
                <c:pt idx="154">
                  <c:v>146.15025698843326</c:v>
                </c:pt>
                <c:pt idx="155">
                  <c:v>156.86189073044264</c:v>
                </c:pt>
                <c:pt idx="156">
                  <c:v>168.11818381526606</c:v>
                </c:pt>
                <c:pt idx="157">
                  <c:v>179.91913624290353</c:v>
                </c:pt>
                <c:pt idx="158">
                  <c:v>192.08319489908371</c:v>
                </c:pt>
                <c:pt idx="159">
                  <c:v>204.42880666953519</c:v>
                </c:pt>
                <c:pt idx="160">
                  <c:v>216.7744184399867</c:v>
                </c:pt>
                <c:pt idx="161">
                  <c:v>230.57245512460898</c:v>
                </c:pt>
                <c:pt idx="162">
                  <c:v>245.82291672340202</c:v>
                </c:pt>
                <c:pt idx="163">
                  <c:v>261.79959077928044</c:v>
                </c:pt>
                <c:pt idx="164">
                  <c:v>278.6840304065156</c:v>
                </c:pt>
                <c:pt idx="165">
                  <c:v>296.11312937656476</c:v>
                </c:pt>
                <c:pt idx="166">
                  <c:v>314.631547032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B7-42F9-96E3-A51B38B8C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20</c:v>
                </c:pt>
                <c:pt idx="1">
                  <c:v>17</c:v>
                </c:pt>
                <c:pt idx="2">
                  <c:v>139</c:v>
                </c:pt>
                <c:pt idx="3">
                  <c:v>66</c:v>
                </c:pt>
                <c:pt idx="4">
                  <c:v>91</c:v>
                </c:pt>
                <c:pt idx="5">
                  <c:v>51</c:v>
                </c:pt>
                <c:pt idx="6">
                  <c:v>50</c:v>
                </c:pt>
                <c:pt idx="7">
                  <c:v>19</c:v>
                </c:pt>
                <c:pt idx="8">
                  <c:v>17</c:v>
                </c:pt>
                <c:pt idx="9">
                  <c:v>61</c:v>
                </c:pt>
                <c:pt idx="10">
                  <c:v>71</c:v>
                </c:pt>
                <c:pt idx="11">
                  <c:v>51</c:v>
                </c:pt>
                <c:pt idx="12">
                  <c:v>44</c:v>
                </c:pt>
                <c:pt idx="13">
                  <c:v>43</c:v>
                </c:pt>
                <c:pt idx="14">
                  <c:v>0</c:v>
                </c:pt>
                <c:pt idx="15">
                  <c:v>11</c:v>
                </c:pt>
                <c:pt idx="16">
                  <c:v>45</c:v>
                </c:pt>
                <c:pt idx="17">
                  <c:v>51</c:v>
                </c:pt>
                <c:pt idx="18">
                  <c:v>23</c:v>
                </c:pt>
                <c:pt idx="19">
                  <c:v>19</c:v>
                </c:pt>
                <c:pt idx="20">
                  <c:v>25</c:v>
                </c:pt>
                <c:pt idx="21">
                  <c:v>3</c:v>
                </c:pt>
                <c:pt idx="22">
                  <c:v>2</c:v>
                </c:pt>
                <c:pt idx="23">
                  <c:v>23</c:v>
                </c:pt>
                <c:pt idx="24">
                  <c:v>27</c:v>
                </c:pt>
                <c:pt idx="25">
                  <c:v>10</c:v>
                </c:pt>
                <c:pt idx="26">
                  <c:v>11</c:v>
                </c:pt>
                <c:pt idx="27">
                  <c:v>9</c:v>
                </c:pt>
                <c:pt idx="28">
                  <c:v>6</c:v>
                </c:pt>
                <c:pt idx="29">
                  <c:v>4</c:v>
                </c:pt>
                <c:pt idx="30">
                  <c:v>30</c:v>
                </c:pt>
                <c:pt idx="31">
                  <c:v>11</c:v>
                </c:pt>
                <c:pt idx="32">
                  <c:v>12</c:v>
                </c:pt>
                <c:pt idx="33">
                  <c:v>15</c:v>
                </c:pt>
                <c:pt idx="34">
                  <c:v>17</c:v>
                </c:pt>
                <c:pt idx="35">
                  <c:v>1</c:v>
                </c:pt>
                <c:pt idx="36">
                  <c:v>4</c:v>
                </c:pt>
                <c:pt idx="37">
                  <c:v>12</c:v>
                </c:pt>
                <c:pt idx="38">
                  <c:v>16</c:v>
                </c:pt>
                <c:pt idx="39">
                  <c:v>7</c:v>
                </c:pt>
                <c:pt idx="40">
                  <c:v>0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7</c:v>
                </c:pt>
                <c:pt idx="45">
                  <c:v>6</c:v>
                </c:pt>
                <c:pt idx="46">
                  <c:v>3</c:v>
                </c:pt>
                <c:pt idx="47">
                  <c:v>2</c:v>
                </c:pt>
                <c:pt idx="48">
                  <c:v>5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1</c:v>
                </c:pt>
                <c:pt idx="53">
                  <c:v>11</c:v>
                </c:pt>
                <c:pt idx="54">
                  <c:v>4</c:v>
                </c:pt>
                <c:pt idx="55">
                  <c:v>5</c:v>
                </c:pt>
                <c:pt idx="56">
                  <c:v>2</c:v>
                </c:pt>
                <c:pt idx="57">
                  <c:v>2</c:v>
                </c:pt>
                <c:pt idx="58">
                  <c:v>5</c:v>
                </c:pt>
                <c:pt idx="59">
                  <c:v>3</c:v>
                </c:pt>
                <c:pt idx="60">
                  <c:v>4</c:v>
                </c:pt>
                <c:pt idx="61">
                  <c:v>5</c:v>
                </c:pt>
                <c:pt idx="62">
                  <c:v>2</c:v>
                </c:pt>
                <c:pt idx="63">
                  <c:v>2</c:v>
                </c:pt>
                <c:pt idx="64">
                  <c:v>4</c:v>
                </c:pt>
                <c:pt idx="65">
                  <c:v>4</c:v>
                </c:pt>
                <c:pt idx="66">
                  <c:v>2</c:v>
                </c:pt>
                <c:pt idx="67">
                  <c:v>3</c:v>
                </c:pt>
                <c:pt idx="68">
                  <c:v>7</c:v>
                </c:pt>
                <c:pt idx="69">
                  <c:v>14</c:v>
                </c:pt>
                <c:pt idx="70">
                  <c:v>11</c:v>
                </c:pt>
                <c:pt idx="71">
                  <c:v>11</c:v>
                </c:pt>
                <c:pt idx="72">
                  <c:v>15</c:v>
                </c:pt>
                <c:pt idx="73">
                  <c:v>19</c:v>
                </c:pt>
                <c:pt idx="74">
                  <c:v>9</c:v>
                </c:pt>
                <c:pt idx="75">
                  <c:v>11</c:v>
                </c:pt>
                <c:pt idx="76">
                  <c:v>8</c:v>
                </c:pt>
                <c:pt idx="77">
                  <c:v>3</c:v>
                </c:pt>
                <c:pt idx="78">
                  <c:v>1</c:v>
                </c:pt>
                <c:pt idx="79">
                  <c:v>10</c:v>
                </c:pt>
                <c:pt idx="80">
                  <c:v>8</c:v>
                </c:pt>
                <c:pt idx="81">
                  <c:v>3</c:v>
                </c:pt>
                <c:pt idx="82">
                  <c:v>6</c:v>
                </c:pt>
                <c:pt idx="83">
                  <c:v>4</c:v>
                </c:pt>
                <c:pt idx="84">
                  <c:v>1</c:v>
                </c:pt>
                <c:pt idx="85">
                  <c:v>8</c:v>
                </c:pt>
                <c:pt idx="86">
                  <c:v>7</c:v>
                </c:pt>
                <c:pt idx="87">
                  <c:v>14</c:v>
                </c:pt>
                <c:pt idx="88">
                  <c:v>11</c:v>
                </c:pt>
                <c:pt idx="89">
                  <c:v>15</c:v>
                </c:pt>
                <c:pt idx="90">
                  <c:v>5</c:v>
                </c:pt>
                <c:pt idx="91">
                  <c:v>7</c:v>
                </c:pt>
                <c:pt idx="92">
                  <c:v>11</c:v>
                </c:pt>
                <c:pt idx="93">
                  <c:v>6</c:v>
                </c:pt>
                <c:pt idx="94">
                  <c:v>13</c:v>
                </c:pt>
                <c:pt idx="95">
                  <c:v>9</c:v>
                </c:pt>
                <c:pt idx="96">
                  <c:v>5</c:v>
                </c:pt>
                <c:pt idx="97">
                  <c:v>6</c:v>
                </c:pt>
                <c:pt idx="98">
                  <c:v>3</c:v>
                </c:pt>
                <c:pt idx="99">
                  <c:v>4</c:v>
                </c:pt>
                <c:pt idx="100">
                  <c:v>11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3</c:v>
                </c:pt>
                <c:pt idx="105">
                  <c:v>1</c:v>
                </c:pt>
                <c:pt idx="106">
                  <c:v>1</c:v>
                </c:pt>
                <c:pt idx="107">
                  <c:v>7</c:v>
                </c:pt>
                <c:pt idx="108">
                  <c:v>5</c:v>
                </c:pt>
                <c:pt idx="109">
                  <c:v>9</c:v>
                </c:pt>
                <c:pt idx="110">
                  <c:v>3</c:v>
                </c:pt>
                <c:pt idx="111">
                  <c:v>1</c:v>
                </c:pt>
                <c:pt idx="112">
                  <c:v>5</c:v>
                </c:pt>
                <c:pt idx="113">
                  <c:v>2</c:v>
                </c:pt>
                <c:pt idx="114">
                  <c:v>3</c:v>
                </c:pt>
                <c:pt idx="115">
                  <c:v>8</c:v>
                </c:pt>
                <c:pt idx="116">
                  <c:v>9</c:v>
                </c:pt>
                <c:pt idx="117">
                  <c:v>4</c:v>
                </c:pt>
                <c:pt idx="118">
                  <c:v>2</c:v>
                </c:pt>
                <c:pt idx="119">
                  <c:v>2</c:v>
                </c:pt>
                <c:pt idx="120">
                  <c:v>4</c:v>
                </c:pt>
                <c:pt idx="121">
                  <c:v>5</c:v>
                </c:pt>
                <c:pt idx="122">
                  <c:v>9</c:v>
                </c:pt>
                <c:pt idx="123">
                  <c:v>7</c:v>
                </c:pt>
                <c:pt idx="124">
                  <c:v>18</c:v>
                </c:pt>
                <c:pt idx="125">
                  <c:v>8</c:v>
                </c:pt>
                <c:pt idx="126">
                  <c:v>12</c:v>
                </c:pt>
                <c:pt idx="127">
                  <c:v>5</c:v>
                </c:pt>
                <c:pt idx="128">
                  <c:v>14</c:v>
                </c:pt>
                <c:pt idx="129">
                  <c:v>30</c:v>
                </c:pt>
                <c:pt idx="130">
                  <c:v>13</c:v>
                </c:pt>
                <c:pt idx="131">
                  <c:v>23</c:v>
                </c:pt>
                <c:pt idx="132">
                  <c:v>24</c:v>
                </c:pt>
                <c:pt idx="133">
                  <c:v>16</c:v>
                </c:pt>
                <c:pt idx="134">
                  <c:v>7</c:v>
                </c:pt>
                <c:pt idx="135">
                  <c:v>18</c:v>
                </c:pt>
                <c:pt idx="136">
                  <c:v>24</c:v>
                </c:pt>
                <c:pt idx="137">
                  <c:v>21</c:v>
                </c:pt>
                <c:pt idx="138">
                  <c:v>20</c:v>
                </c:pt>
                <c:pt idx="139">
                  <c:v>13</c:v>
                </c:pt>
                <c:pt idx="140">
                  <c:v>16</c:v>
                </c:pt>
                <c:pt idx="141">
                  <c:v>6</c:v>
                </c:pt>
                <c:pt idx="142">
                  <c:v>22</c:v>
                </c:pt>
                <c:pt idx="143">
                  <c:v>29</c:v>
                </c:pt>
                <c:pt idx="144">
                  <c:v>22</c:v>
                </c:pt>
                <c:pt idx="145">
                  <c:v>11</c:v>
                </c:pt>
                <c:pt idx="146">
                  <c:v>14</c:v>
                </c:pt>
                <c:pt idx="147">
                  <c:v>9</c:v>
                </c:pt>
                <c:pt idx="148">
                  <c:v>5</c:v>
                </c:pt>
                <c:pt idx="149">
                  <c:v>14</c:v>
                </c:pt>
                <c:pt idx="150">
                  <c:v>27</c:v>
                </c:pt>
                <c:pt idx="151">
                  <c:v>26</c:v>
                </c:pt>
                <c:pt idx="152">
                  <c:v>18</c:v>
                </c:pt>
                <c:pt idx="153">
                  <c:v>18</c:v>
                </c:pt>
                <c:pt idx="154">
                  <c:v>11</c:v>
                </c:pt>
                <c:pt idx="155">
                  <c:v>21</c:v>
                </c:pt>
                <c:pt idx="156">
                  <c:v>24</c:v>
                </c:pt>
                <c:pt idx="157">
                  <c:v>38</c:v>
                </c:pt>
                <c:pt idx="158">
                  <c:v>26</c:v>
                </c:pt>
                <c:pt idx="159">
                  <c:v>31</c:v>
                </c:pt>
                <c:pt idx="160">
                  <c:v>24</c:v>
                </c:pt>
                <c:pt idx="161">
                  <c:v>34</c:v>
                </c:pt>
                <c:pt idx="162">
                  <c:v>24</c:v>
                </c:pt>
                <c:pt idx="163">
                  <c:v>35</c:v>
                </c:pt>
                <c:pt idx="164">
                  <c:v>45</c:v>
                </c:pt>
                <c:pt idx="165">
                  <c:v>55</c:v>
                </c:pt>
                <c:pt idx="166">
                  <c:v>60</c:v>
                </c:pt>
                <c:pt idx="167">
                  <c:v>57</c:v>
                </c:pt>
                <c:pt idx="168">
                  <c:v>43</c:v>
                </c:pt>
                <c:pt idx="169">
                  <c:v>30</c:v>
                </c:pt>
                <c:pt idx="170">
                  <c:v>99</c:v>
                </c:pt>
                <c:pt idx="171">
                  <c:v>145</c:v>
                </c:pt>
                <c:pt idx="172">
                  <c:v>111</c:v>
                </c:pt>
                <c:pt idx="173">
                  <c:v>113</c:v>
                </c:pt>
                <c:pt idx="174">
                  <c:v>134</c:v>
                </c:pt>
                <c:pt idx="175">
                  <c:v>67</c:v>
                </c:pt>
                <c:pt idx="176">
                  <c:v>95</c:v>
                </c:pt>
                <c:pt idx="177">
                  <c:v>188</c:v>
                </c:pt>
                <c:pt idx="178">
                  <c:v>201</c:v>
                </c:pt>
                <c:pt idx="179">
                  <c:v>201</c:v>
                </c:pt>
                <c:pt idx="180">
                  <c:v>128</c:v>
                </c:pt>
                <c:pt idx="181">
                  <c:v>250</c:v>
                </c:pt>
                <c:pt idx="182">
                  <c:v>190</c:v>
                </c:pt>
                <c:pt idx="183">
                  <c:v>102</c:v>
                </c:pt>
                <c:pt idx="184">
                  <c:v>347</c:v>
                </c:pt>
                <c:pt idx="185">
                  <c:v>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1-4E02-9EA0-D010686661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23</c:v>
                </c:pt>
                <c:pt idx="154">
                  <c:v>24</c:v>
                </c:pt>
                <c:pt idx="155">
                  <c:v>25</c:v>
                </c:pt>
                <c:pt idx="156">
                  <c:v>25</c:v>
                </c:pt>
                <c:pt idx="157">
                  <c:v>26</c:v>
                </c:pt>
                <c:pt idx="158">
                  <c:v>27</c:v>
                </c:pt>
                <c:pt idx="159">
                  <c:v>28</c:v>
                </c:pt>
                <c:pt idx="160">
                  <c:v>30</c:v>
                </c:pt>
                <c:pt idx="161">
                  <c:v>31</c:v>
                </c:pt>
                <c:pt idx="162">
                  <c:v>32</c:v>
                </c:pt>
                <c:pt idx="163">
                  <c:v>33</c:v>
                </c:pt>
                <c:pt idx="164">
                  <c:v>34</c:v>
                </c:pt>
                <c:pt idx="165">
                  <c:v>35</c:v>
                </c:pt>
                <c:pt idx="166">
                  <c:v>37</c:v>
                </c:pt>
                <c:pt idx="167">
                  <c:v>38</c:v>
                </c:pt>
                <c:pt idx="168">
                  <c:v>39</c:v>
                </c:pt>
                <c:pt idx="169">
                  <c:v>41</c:v>
                </c:pt>
                <c:pt idx="170">
                  <c:v>42</c:v>
                </c:pt>
                <c:pt idx="171">
                  <c:v>44</c:v>
                </c:pt>
                <c:pt idx="172">
                  <c:v>45</c:v>
                </c:pt>
                <c:pt idx="173">
                  <c:v>47</c:v>
                </c:pt>
                <c:pt idx="174">
                  <c:v>49</c:v>
                </c:pt>
                <c:pt idx="175">
                  <c:v>51</c:v>
                </c:pt>
                <c:pt idx="176">
                  <c:v>52</c:v>
                </c:pt>
                <c:pt idx="177">
                  <c:v>54</c:v>
                </c:pt>
                <c:pt idx="178">
                  <c:v>56</c:v>
                </c:pt>
                <c:pt idx="179">
                  <c:v>58</c:v>
                </c:pt>
                <c:pt idx="180">
                  <c:v>60</c:v>
                </c:pt>
                <c:pt idx="181">
                  <c:v>62</c:v>
                </c:pt>
                <c:pt idx="182">
                  <c:v>65</c:v>
                </c:pt>
                <c:pt idx="183">
                  <c:v>67</c:v>
                </c:pt>
                <c:pt idx="184">
                  <c:v>69</c:v>
                </c:pt>
                <c:pt idx="185">
                  <c:v>72</c:v>
                </c:pt>
                <c:pt idx="186">
                  <c:v>74</c:v>
                </c:pt>
                <c:pt idx="187">
                  <c:v>77</c:v>
                </c:pt>
                <c:pt idx="188">
                  <c:v>80</c:v>
                </c:pt>
                <c:pt idx="189">
                  <c:v>82</c:v>
                </c:pt>
                <c:pt idx="190">
                  <c:v>85</c:v>
                </c:pt>
                <c:pt idx="191">
                  <c:v>88</c:v>
                </c:pt>
                <c:pt idx="192">
                  <c:v>91</c:v>
                </c:pt>
                <c:pt idx="193">
                  <c:v>95</c:v>
                </c:pt>
                <c:pt idx="194">
                  <c:v>98</c:v>
                </c:pt>
                <c:pt idx="195">
                  <c:v>101</c:v>
                </c:pt>
                <c:pt idx="196">
                  <c:v>105</c:v>
                </c:pt>
                <c:pt idx="197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1-4E02-9EA0-D010686661C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24</c:v>
                </c:pt>
                <c:pt idx="154">
                  <c:v>25</c:v>
                </c:pt>
                <c:pt idx="155">
                  <c:v>26</c:v>
                </c:pt>
                <c:pt idx="156">
                  <c:v>27</c:v>
                </c:pt>
                <c:pt idx="157">
                  <c:v>29</c:v>
                </c:pt>
                <c:pt idx="158">
                  <c:v>30</c:v>
                </c:pt>
                <c:pt idx="159">
                  <c:v>32</c:v>
                </c:pt>
                <c:pt idx="160">
                  <c:v>34</c:v>
                </c:pt>
                <c:pt idx="161">
                  <c:v>35</c:v>
                </c:pt>
                <c:pt idx="162">
                  <c:v>37</c:v>
                </c:pt>
                <c:pt idx="163">
                  <c:v>39</c:v>
                </c:pt>
                <c:pt idx="164">
                  <c:v>41</c:v>
                </c:pt>
                <c:pt idx="165">
                  <c:v>43</c:v>
                </c:pt>
                <c:pt idx="166">
                  <c:v>46</c:v>
                </c:pt>
                <c:pt idx="167">
                  <c:v>48</c:v>
                </c:pt>
                <c:pt idx="168">
                  <c:v>50</c:v>
                </c:pt>
                <c:pt idx="169">
                  <c:v>53</c:v>
                </c:pt>
                <c:pt idx="170">
                  <c:v>56</c:v>
                </c:pt>
                <c:pt idx="171">
                  <c:v>58</c:v>
                </c:pt>
                <c:pt idx="172">
                  <c:v>61</c:v>
                </c:pt>
                <c:pt idx="173">
                  <c:v>64</c:v>
                </c:pt>
                <c:pt idx="174">
                  <c:v>68</c:v>
                </c:pt>
                <c:pt idx="175">
                  <c:v>71</c:v>
                </c:pt>
                <c:pt idx="176">
                  <c:v>75</c:v>
                </c:pt>
                <c:pt idx="177">
                  <c:v>79</c:v>
                </c:pt>
                <c:pt idx="178">
                  <c:v>83</c:v>
                </c:pt>
                <c:pt idx="179">
                  <c:v>87</c:v>
                </c:pt>
                <c:pt idx="180">
                  <c:v>91</c:v>
                </c:pt>
                <c:pt idx="181">
                  <c:v>96</c:v>
                </c:pt>
                <c:pt idx="182">
                  <c:v>100</c:v>
                </c:pt>
                <c:pt idx="183">
                  <c:v>105</c:v>
                </c:pt>
                <c:pt idx="184">
                  <c:v>111</c:v>
                </c:pt>
                <c:pt idx="185">
                  <c:v>116</c:v>
                </c:pt>
                <c:pt idx="186">
                  <c:v>122</c:v>
                </c:pt>
                <c:pt idx="187">
                  <c:v>128</c:v>
                </c:pt>
                <c:pt idx="188">
                  <c:v>135</c:v>
                </c:pt>
                <c:pt idx="189">
                  <c:v>141</c:v>
                </c:pt>
                <c:pt idx="190">
                  <c:v>148</c:v>
                </c:pt>
                <c:pt idx="191">
                  <c:v>156</c:v>
                </c:pt>
                <c:pt idx="192">
                  <c:v>163</c:v>
                </c:pt>
                <c:pt idx="193">
                  <c:v>172</c:v>
                </c:pt>
                <c:pt idx="194">
                  <c:v>180</c:v>
                </c:pt>
                <c:pt idx="195">
                  <c:v>189</c:v>
                </c:pt>
                <c:pt idx="196">
                  <c:v>198</c:v>
                </c:pt>
                <c:pt idx="197">
                  <c:v>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1-4E02-9EA0-D010686661C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6</c:v>
                </c:pt>
                <c:pt idx="160">
                  <c:v>38</c:v>
                </c:pt>
                <c:pt idx="161">
                  <c:v>41</c:v>
                </c:pt>
                <c:pt idx="162">
                  <c:v>43</c:v>
                </c:pt>
                <c:pt idx="163">
                  <c:v>46</c:v>
                </c:pt>
                <c:pt idx="164">
                  <c:v>49</c:v>
                </c:pt>
                <c:pt idx="165">
                  <c:v>52</c:v>
                </c:pt>
                <c:pt idx="166">
                  <c:v>56</c:v>
                </c:pt>
                <c:pt idx="167">
                  <c:v>59</c:v>
                </c:pt>
                <c:pt idx="168">
                  <c:v>63</c:v>
                </c:pt>
                <c:pt idx="169">
                  <c:v>67</c:v>
                </c:pt>
                <c:pt idx="170">
                  <c:v>72</c:v>
                </c:pt>
                <c:pt idx="171">
                  <c:v>76</c:v>
                </c:pt>
                <c:pt idx="172">
                  <c:v>81</c:v>
                </c:pt>
                <c:pt idx="173">
                  <c:v>86</c:v>
                </c:pt>
                <c:pt idx="174">
                  <c:v>92</c:v>
                </c:pt>
                <c:pt idx="175">
                  <c:v>98</c:v>
                </c:pt>
                <c:pt idx="176">
                  <c:v>104</c:v>
                </c:pt>
                <c:pt idx="177">
                  <c:v>111</c:v>
                </c:pt>
                <c:pt idx="178">
                  <c:v>118</c:v>
                </c:pt>
                <c:pt idx="179">
                  <c:v>126</c:v>
                </c:pt>
                <c:pt idx="180">
                  <c:v>134</c:v>
                </c:pt>
                <c:pt idx="181">
                  <c:v>143</c:v>
                </c:pt>
                <c:pt idx="182">
                  <c:v>152</c:v>
                </c:pt>
                <c:pt idx="183">
                  <c:v>161</c:v>
                </c:pt>
                <c:pt idx="184">
                  <c:v>172</c:v>
                </c:pt>
                <c:pt idx="185">
                  <c:v>183</c:v>
                </c:pt>
                <c:pt idx="186">
                  <c:v>194</c:v>
                </c:pt>
                <c:pt idx="187">
                  <c:v>207</c:v>
                </c:pt>
                <c:pt idx="188">
                  <c:v>220</c:v>
                </c:pt>
                <c:pt idx="189">
                  <c:v>234</c:v>
                </c:pt>
                <c:pt idx="190">
                  <c:v>249</c:v>
                </c:pt>
                <c:pt idx="191">
                  <c:v>265</c:v>
                </c:pt>
                <c:pt idx="192">
                  <c:v>282</c:v>
                </c:pt>
                <c:pt idx="193">
                  <c:v>300</c:v>
                </c:pt>
                <c:pt idx="194">
                  <c:v>319</c:v>
                </c:pt>
                <c:pt idx="195">
                  <c:v>340</c:v>
                </c:pt>
                <c:pt idx="196">
                  <c:v>361</c:v>
                </c:pt>
                <c:pt idx="197">
                  <c:v>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1-4E02-9EA0-D010686661C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6</c:v>
                </c:pt>
                <c:pt idx="160">
                  <c:v>38</c:v>
                </c:pt>
                <c:pt idx="161">
                  <c:v>41</c:v>
                </c:pt>
                <c:pt idx="162">
                  <c:v>43</c:v>
                </c:pt>
                <c:pt idx="163">
                  <c:v>46</c:v>
                </c:pt>
                <c:pt idx="164">
                  <c:v>52</c:v>
                </c:pt>
                <c:pt idx="165">
                  <c:v>58</c:v>
                </c:pt>
                <c:pt idx="166">
                  <c:v>62</c:v>
                </c:pt>
                <c:pt idx="167">
                  <c:v>67</c:v>
                </c:pt>
                <c:pt idx="168">
                  <c:v>73</c:v>
                </c:pt>
                <c:pt idx="169">
                  <c:v>80</c:v>
                </c:pt>
                <c:pt idx="170">
                  <c:v>88</c:v>
                </c:pt>
                <c:pt idx="171">
                  <c:v>96</c:v>
                </c:pt>
                <c:pt idx="172">
                  <c:v>105</c:v>
                </c:pt>
                <c:pt idx="173">
                  <c:v>113</c:v>
                </c:pt>
                <c:pt idx="174">
                  <c:v>124</c:v>
                </c:pt>
                <c:pt idx="175">
                  <c:v>135</c:v>
                </c:pt>
                <c:pt idx="176">
                  <c:v>148</c:v>
                </c:pt>
                <c:pt idx="177">
                  <c:v>161</c:v>
                </c:pt>
                <c:pt idx="178">
                  <c:v>176</c:v>
                </c:pt>
                <c:pt idx="179">
                  <c:v>191</c:v>
                </c:pt>
                <c:pt idx="180">
                  <c:v>209</c:v>
                </c:pt>
                <c:pt idx="181">
                  <c:v>228</c:v>
                </c:pt>
                <c:pt idx="182">
                  <c:v>249</c:v>
                </c:pt>
                <c:pt idx="183">
                  <c:v>271</c:v>
                </c:pt>
                <c:pt idx="184">
                  <c:v>296</c:v>
                </c:pt>
                <c:pt idx="185">
                  <c:v>303</c:v>
                </c:pt>
                <c:pt idx="186">
                  <c:v>320</c:v>
                </c:pt>
                <c:pt idx="187">
                  <c:v>342</c:v>
                </c:pt>
                <c:pt idx="188">
                  <c:v>370</c:v>
                </c:pt>
                <c:pt idx="189">
                  <c:v>394</c:v>
                </c:pt>
                <c:pt idx="190">
                  <c:v>418</c:v>
                </c:pt>
                <c:pt idx="191">
                  <c:v>442</c:v>
                </c:pt>
                <c:pt idx="192">
                  <c:v>468</c:v>
                </c:pt>
                <c:pt idx="193">
                  <c:v>500</c:v>
                </c:pt>
                <c:pt idx="194">
                  <c:v>534</c:v>
                </c:pt>
                <c:pt idx="195">
                  <c:v>569</c:v>
                </c:pt>
                <c:pt idx="196">
                  <c:v>604</c:v>
                </c:pt>
                <c:pt idx="197">
                  <c:v>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C1-4E02-9EA0-D010686661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General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General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6.434862172889606</c:v>
                </c:pt>
                <c:pt idx="1">
                  <c:v>24.696833058659323</c:v>
                </c:pt>
                <c:pt idx="2">
                  <c:v>23.94929365468931</c:v>
                </c:pt>
                <c:pt idx="3">
                  <c:v>22.697165153039538</c:v>
                </c:pt>
                <c:pt idx="4">
                  <c:v>22.052412417115402</c:v>
                </c:pt>
                <c:pt idx="5">
                  <c:v>21.921593021420648</c:v>
                </c:pt>
                <c:pt idx="6">
                  <c:v>19.884548145602359</c:v>
                </c:pt>
                <c:pt idx="7">
                  <c:v>18.987500860838345</c:v>
                </c:pt>
                <c:pt idx="8">
                  <c:v>18.034388120776576</c:v>
                </c:pt>
                <c:pt idx="9">
                  <c:v>15.81980263651541</c:v>
                </c:pt>
                <c:pt idx="10">
                  <c:v>14.502264437018264</c:v>
                </c:pt>
                <c:pt idx="11">
                  <c:v>13.754725033048249</c:v>
                </c:pt>
                <c:pt idx="12">
                  <c:v>13.222103207719615</c:v>
                </c:pt>
                <c:pt idx="13">
                  <c:v>12.091449859214968</c:v>
                </c:pt>
                <c:pt idx="14">
                  <c:v>10.44686317048094</c:v>
                </c:pt>
                <c:pt idx="15">
                  <c:v>9.3068655794266686</c:v>
                </c:pt>
                <c:pt idx="16">
                  <c:v>9.0078498178386628</c:v>
                </c:pt>
                <c:pt idx="17">
                  <c:v>8.6714570860521576</c:v>
                </c:pt>
                <c:pt idx="18">
                  <c:v>8.5780146605559047</c:v>
                </c:pt>
                <c:pt idx="19">
                  <c:v>8.7275225413499093</c:v>
                </c:pt>
                <c:pt idx="20">
                  <c:v>8.2042449585708983</c:v>
                </c:pt>
                <c:pt idx="21">
                  <c:v>7.3071976738068818</c:v>
                </c:pt>
                <c:pt idx="22">
                  <c:v>7.0922800951655036</c:v>
                </c:pt>
                <c:pt idx="23">
                  <c:v>6.5222812996383679</c:v>
                </c:pt>
                <c:pt idx="24">
                  <c:v>6.4101503890428662</c:v>
                </c:pt>
                <c:pt idx="25">
                  <c:v>6.4568716017909917</c:v>
                </c:pt>
                <c:pt idx="26">
                  <c:v>6.4662158443406179</c:v>
                </c:pt>
                <c:pt idx="27">
                  <c:v>6.7745758484782481</c:v>
                </c:pt>
                <c:pt idx="28">
                  <c:v>7.1857225206617557</c:v>
                </c:pt>
                <c:pt idx="29">
                  <c:v>7.4753940397001353</c:v>
                </c:pt>
                <c:pt idx="30">
                  <c:v>8.1294910181738977</c:v>
                </c:pt>
                <c:pt idx="31">
                  <c:v>8.4285067797619035</c:v>
                </c:pt>
                <c:pt idx="32">
                  <c:v>8.9611286050905381</c:v>
                </c:pt>
                <c:pt idx="33">
                  <c:v>9.4283407325717956</c:v>
                </c:pt>
                <c:pt idx="34">
                  <c:v>9.2227673964800427</c:v>
                </c:pt>
                <c:pt idx="35">
                  <c:v>8.7929322391972846</c:v>
                </c:pt>
                <c:pt idx="36">
                  <c:v>10.129158923793684</c:v>
                </c:pt>
                <c:pt idx="37">
                  <c:v>10.895386812862947</c:v>
                </c:pt>
                <c:pt idx="38">
                  <c:v>12.026040161367595</c:v>
                </c:pt>
                <c:pt idx="39">
                  <c:v>12.325055922955599</c:v>
                </c:pt>
                <c:pt idx="40">
                  <c:v>12.68948138239098</c:v>
                </c:pt>
                <c:pt idx="41">
                  <c:v>13.764069275597874</c:v>
                </c:pt>
                <c:pt idx="42">
                  <c:v>15.745048696118412</c:v>
                </c:pt>
                <c:pt idx="43">
                  <c:v>15.576852330225158</c:v>
                </c:pt>
                <c:pt idx="44">
                  <c:v>15.352590509034155</c:v>
                </c:pt>
                <c:pt idx="45">
                  <c:v>14.941443836850645</c:v>
                </c:pt>
                <c:pt idx="46">
                  <c:v>15.315213538835655</c:v>
                </c:pt>
                <c:pt idx="47">
                  <c:v>15.025542019797273</c:v>
                </c:pt>
                <c:pt idx="48">
                  <c:v>14.782591713507017</c:v>
                </c:pt>
                <c:pt idx="49">
                  <c:v>14.577018377415264</c:v>
                </c:pt>
                <c:pt idx="50">
                  <c:v>14.287346858376884</c:v>
                </c:pt>
                <c:pt idx="51">
                  <c:v>14.016363824437756</c:v>
                </c:pt>
                <c:pt idx="52">
                  <c:v>13.530463211857246</c:v>
                </c:pt>
                <c:pt idx="53">
                  <c:v>12.857677748284233</c:v>
                </c:pt>
                <c:pt idx="54">
                  <c:v>12.521285016497727</c:v>
                </c:pt>
                <c:pt idx="55">
                  <c:v>12.325055922955599</c:v>
                </c:pt>
                <c:pt idx="56">
                  <c:v>11.885876523123216</c:v>
                </c:pt>
                <c:pt idx="57">
                  <c:v>11.521451063687834</c:v>
                </c:pt>
                <c:pt idx="58">
                  <c:v>11.596205004084837</c:v>
                </c:pt>
                <c:pt idx="59">
                  <c:v>11.119648634053952</c:v>
                </c:pt>
                <c:pt idx="60">
                  <c:v>11.026206208557701</c:v>
                </c:pt>
                <c:pt idx="61">
                  <c:v>10.998173480908825</c:v>
                </c:pt>
                <c:pt idx="62">
                  <c:v>10.568338323626067</c:v>
                </c:pt>
                <c:pt idx="63">
                  <c:v>10.428174685381689</c:v>
                </c:pt>
                <c:pt idx="64">
                  <c:v>10.577682566175692</c:v>
                </c:pt>
                <c:pt idx="65">
                  <c:v>10.203912864190684</c:v>
                </c:pt>
                <c:pt idx="66">
                  <c:v>10.540305595977191</c:v>
                </c:pt>
                <c:pt idx="67">
                  <c:v>10.904731055412572</c:v>
                </c:pt>
                <c:pt idx="68">
                  <c:v>11.175714089351704</c:v>
                </c:pt>
                <c:pt idx="69">
                  <c:v>11.33456621269533</c:v>
                </c:pt>
                <c:pt idx="70">
                  <c:v>11.540139548787085</c:v>
                </c:pt>
                <c:pt idx="71">
                  <c:v>11.642926216832961</c:v>
                </c:pt>
                <c:pt idx="72">
                  <c:v>11.885876523123216</c:v>
                </c:pt>
                <c:pt idx="73">
                  <c:v>12.306367437856348</c:v>
                </c:pt>
                <c:pt idx="74">
                  <c:v>12.194236527260847</c:v>
                </c:pt>
                <c:pt idx="75">
                  <c:v>11.923253493321717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0465620802974</c:v>
                </c:pt>
                <c:pt idx="80">
                  <c:v>11.932597735871342</c:v>
                </c:pt>
                <c:pt idx="81">
                  <c:v>11.848499552924714</c:v>
                </c:pt>
                <c:pt idx="82">
                  <c:v>12.128826829413471</c:v>
                </c:pt>
                <c:pt idx="83">
                  <c:v>12.091449859214968</c:v>
                </c:pt>
                <c:pt idx="84">
                  <c:v>11.605549246634462</c:v>
                </c:pt>
                <c:pt idx="85">
                  <c:v>11.951286220970593</c:v>
                </c:pt>
                <c:pt idx="86">
                  <c:v>12.381121378253349</c:v>
                </c:pt>
                <c:pt idx="87">
                  <c:v>12.493252288848852</c:v>
                </c:pt>
                <c:pt idx="88">
                  <c:v>12.493252288848852</c:v>
                </c:pt>
                <c:pt idx="89">
                  <c:v>12.250301982558598</c:v>
                </c:pt>
                <c:pt idx="90">
                  <c:v>12.530629259047352</c:v>
                </c:pt>
                <c:pt idx="91">
                  <c:v>12.913743203581983</c:v>
                </c:pt>
                <c:pt idx="92">
                  <c:v>13.072595326925612</c:v>
                </c:pt>
                <c:pt idx="93">
                  <c:v>13.95095412659038</c:v>
                </c:pt>
                <c:pt idx="94">
                  <c:v>15.118984445293524</c:v>
                </c:pt>
                <c:pt idx="95">
                  <c:v>15.801114151416161</c:v>
                </c:pt>
                <c:pt idx="96">
                  <c:v>16.352424461844048</c:v>
                </c:pt>
                <c:pt idx="97">
                  <c:v>17.763405086837448</c:v>
                </c:pt>
                <c:pt idx="98">
                  <c:v>20.510612396427248</c:v>
                </c:pt>
                <c:pt idx="99">
                  <c:v>21.613233017283015</c:v>
                </c:pt>
                <c:pt idx="100">
                  <c:v>22.669132425390661</c:v>
                </c:pt>
                <c:pt idx="101">
                  <c:v>23.94929365468931</c:v>
                </c:pt>
                <c:pt idx="102">
                  <c:v>24.360440326872816</c:v>
                </c:pt>
                <c:pt idx="103">
                  <c:v>24.323063356674318</c:v>
                </c:pt>
                <c:pt idx="104">
                  <c:v>25.238799126537586</c:v>
                </c:pt>
                <c:pt idx="105">
                  <c:v>24.967816092598454</c:v>
                </c:pt>
                <c:pt idx="106">
                  <c:v>26.294698534645228</c:v>
                </c:pt>
                <c:pt idx="107">
                  <c:v>27.574859763943877</c:v>
                </c:pt>
                <c:pt idx="108">
                  <c:v>27.546827036294999</c:v>
                </c:pt>
                <c:pt idx="109">
                  <c:v>28.023383406325884</c:v>
                </c:pt>
                <c:pt idx="110">
                  <c:v>28.499939776356765</c:v>
                </c:pt>
                <c:pt idx="111">
                  <c:v>28.406497350860516</c:v>
                </c:pt>
                <c:pt idx="112">
                  <c:v>28.798955537944771</c:v>
                </c:pt>
                <c:pt idx="113">
                  <c:v>28.798955537944771</c:v>
                </c:pt>
                <c:pt idx="114">
                  <c:v>28.135514316921384</c:v>
                </c:pt>
                <c:pt idx="115">
                  <c:v>28.686824627349271</c:v>
                </c:pt>
                <c:pt idx="116">
                  <c:v>29.733379792907289</c:v>
                </c:pt>
                <c:pt idx="117">
                  <c:v>30.312722830984054</c:v>
                </c:pt>
                <c:pt idx="118">
                  <c:v>32.097473157962462</c:v>
                </c:pt>
                <c:pt idx="119">
                  <c:v>30.94813132435856</c:v>
                </c:pt>
                <c:pt idx="120">
                  <c:v>32.919766502329473</c:v>
                </c:pt>
                <c:pt idx="121">
                  <c:v>36.993856253966044</c:v>
                </c:pt>
                <c:pt idx="122">
                  <c:v>40.04007932514385</c:v>
                </c:pt>
                <c:pt idx="123">
                  <c:v>41.338929039541753</c:v>
                </c:pt>
                <c:pt idx="124">
                  <c:v>41.98368177546589</c:v>
                </c:pt>
                <c:pt idx="125">
                  <c:v>43.170400579268282</c:v>
                </c:pt>
                <c:pt idx="126">
                  <c:v>49.103994598280266</c:v>
                </c:pt>
                <c:pt idx="127">
                  <c:v>52.038086758862569</c:v>
                </c:pt>
                <c:pt idx="128">
                  <c:v>52.673495252237082</c:v>
                </c:pt>
                <c:pt idx="129">
                  <c:v>54.458245579215493</c:v>
                </c:pt>
                <c:pt idx="130">
                  <c:v>55.523489229872759</c:v>
                </c:pt>
                <c:pt idx="131">
                  <c:v>55.69168559576601</c:v>
                </c:pt>
                <c:pt idx="132">
                  <c:v>60.774953542762105</c:v>
                </c:pt>
                <c:pt idx="133">
                  <c:v>64.503306320062549</c:v>
                </c:pt>
                <c:pt idx="134">
                  <c:v>68.726903952493117</c:v>
                </c:pt>
                <c:pt idx="135">
                  <c:v>73.866237354786961</c:v>
                </c:pt>
                <c:pt idx="136">
                  <c:v>81.005238662700592</c:v>
                </c:pt>
                <c:pt idx="137">
                  <c:v>85.602605997116186</c:v>
                </c:pt>
                <c:pt idx="138">
                  <c:v>89.882269084844509</c:v>
                </c:pt>
                <c:pt idx="139">
                  <c:v>100.96454074869996</c:v>
                </c:pt>
                <c:pt idx="140">
                  <c:v>117.23286702759739</c:v>
                </c:pt>
                <c:pt idx="141">
                  <c:v>133.8375860382813</c:v>
                </c:pt>
                <c:pt idx="142">
                  <c:v>153.47918387759341</c:v>
                </c:pt>
                <c:pt idx="143">
                  <c:v>176.40061085182396</c:v>
                </c:pt>
                <c:pt idx="144">
                  <c:v>191.33271044612499</c:v>
                </c:pt>
                <c:pt idx="145">
                  <c:v>201.04137845518554</c:v>
                </c:pt>
                <c:pt idx="146">
                  <c:v>217.39380291702957</c:v>
                </c:pt>
                <c:pt idx="147">
                  <c:v>245.76292329769157</c:v>
                </c:pt>
                <c:pt idx="148">
                  <c:v>269.77762665022829</c:v>
                </c:pt>
                <c:pt idx="149">
                  <c:v>276.44007158811104</c:v>
                </c:pt>
                <c:pt idx="150">
                  <c:v>290.50315662529692</c:v>
                </c:pt>
                <c:pt idx="151">
                  <c:v>312.01360297453402</c:v>
                </c:pt>
                <c:pt idx="152">
                  <c:v>320.76915824353284</c:v>
                </c:pt>
                <c:pt idx="153">
                  <c:v>351.8294204784869</c:v>
                </c:pt>
                <c:pt idx="154">
                  <c:v>385.63689002303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 formatCode="0">
                  <c:v>37.353495429982509</c:v>
                </c:pt>
                <c:pt idx="123" formatCode="0">
                  <c:v>38.776628402049226</c:v>
                </c:pt>
                <c:pt idx="124" formatCode="0">
                  <c:v>40.244702415339098</c:v>
                </c:pt>
                <c:pt idx="125" formatCode="0">
                  <c:v>41.772697816926502</c:v>
                </c:pt>
                <c:pt idx="126" formatCode="0">
                  <c:v>43.353124433274274</c:v>
                </c:pt>
                <c:pt idx="127" formatCode="0">
                  <c:v>45.000962611456778</c:v>
                </c:pt>
                <c:pt idx="128" formatCode="0">
                  <c:v>46.738682872085597</c:v>
                </c:pt>
                <c:pt idx="129" formatCode="0">
                  <c:v>48.521344173937571</c:v>
                </c:pt>
                <c:pt idx="130" formatCode="0">
                  <c:v>50.348946517012713</c:v>
                </c:pt>
                <c:pt idx="131" formatCode="0">
                  <c:v>52.236470248385409</c:v>
                </c:pt>
                <c:pt idx="132" formatCode="0">
                  <c:v>54.183915368055644</c:v>
                </c:pt>
                <c:pt idx="133" formatCode="0">
                  <c:v>56.213752396635002</c:v>
                </c:pt>
                <c:pt idx="134" formatCode="0">
                  <c:v>58.311000987049098</c:v>
                </c:pt>
                <c:pt idx="135" formatCode="0">
                  <c:v>60.483151312835112</c:v>
                </c:pt>
                <c:pt idx="136" formatCode="0">
                  <c:v>62.7152230269187</c:v>
                </c:pt>
                <c:pt idx="137" formatCode="0">
                  <c:v>65.022196476374205</c:v>
                </c:pt>
                <c:pt idx="138" formatCode="0">
                  <c:v>67.411561834738833</c:v>
                </c:pt>
                <c:pt idx="139" formatCode="0">
                  <c:v>69.890809275549799</c:v>
                </c:pt>
                <c:pt idx="140" formatCode="0">
                  <c:v>72.452448625269867</c:v>
                </c:pt>
                <c:pt idx="141" formatCode="0">
                  <c:v>75.096479883899079</c:v>
                </c:pt>
                <c:pt idx="142" formatCode="0">
                  <c:v>77.822903051437407</c:v>
                </c:pt>
                <c:pt idx="143" formatCode="0">
                  <c:v>80.646698474959237</c:v>
                </c:pt>
                <c:pt idx="144" formatCode="0">
                  <c:v>83.567866154464582</c:v>
                </c:pt>
                <c:pt idx="145" formatCode="0">
                  <c:v>86.586406089953442</c:v>
                </c:pt>
                <c:pt idx="146" formatCode="0">
                  <c:v>89.702318281425832</c:v>
                </c:pt>
                <c:pt idx="147" formatCode="0">
                  <c:v>92.923092902418887</c:v>
                </c:pt>
                <c:pt idx="148" formatCode="0">
                  <c:v>96.263710300007062</c:v>
                </c:pt>
                <c:pt idx="149" formatCode="0">
                  <c:v>99.716680300653152</c:v>
                </c:pt>
                <c:pt idx="150" formatCode="0">
                  <c:v>103.2820029043571</c:v>
                </c:pt>
                <c:pt idx="151" formatCode="0">
                  <c:v>106.97465845819336</c:v>
                </c:pt>
                <c:pt idx="152" formatCode="0">
                  <c:v>110.7871567886247</c:v>
                </c:pt>
                <c:pt idx="153" formatCode="0">
                  <c:v>114.73447824272552</c:v>
                </c:pt>
                <c:pt idx="154" formatCode="0">
                  <c:v>118.80913264695862</c:v>
                </c:pt>
                <c:pt idx="155" formatCode="0">
                  <c:v>123.01861017486118</c:v>
                </c:pt>
                <c:pt idx="156" formatCode="0">
                  <c:v>127.37789117350765</c:v>
                </c:pt>
                <c:pt idx="157" formatCode="0">
                  <c:v>131.87948546936076</c:v>
                </c:pt>
                <c:pt idx="158" formatCode="0">
                  <c:v>136.53088323595773</c:v>
                </c:pt>
                <c:pt idx="159" formatCode="0">
                  <c:v>141.33957464683579</c:v>
                </c:pt>
                <c:pt idx="160" formatCode="0">
                  <c:v>146.3130498755321</c:v>
                </c:pt>
                <c:pt idx="161" formatCode="0">
                  <c:v>151.45879909558377</c:v>
                </c:pt>
                <c:pt idx="162" formatCode="0">
                  <c:v>156.77682230699097</c:v>
                </c:pt>
                <c:pt idx="163" formatCode="0">
                  <c:v>162.2671195097536</c:v>
                </c:pt>
                <c:pt idx="164" formatCode="0">
                  <c:v>167.95216122448323</c:v>
                </c:pt>
                <c:pt idx="165" formatCode="0">
                  <c:v>173.83194745117993</c:v>
                </c:pt>
                <c:pt idx="166" formatCode="0">
                  <c:v>179.9064781898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 formatCode="0">
                  <c:v>37.578200636098309</c:v>
                </c:pt>
                <c:pt idx="123" formatCode="0">
                  <c:v>39.353371764413097</c:v>
                </c:pt>
                <c:pt idx="124" formatCode="0">
                  <c:v>41.263366016397377</c:v>
                </c:pt>
                <c:pt idx="125" formatCode="0">
                  <c:v>43.278222697902343</c:v>
                </c:pt>
                <c:pt idx="126" formatCode="0">
                  <c:v>45.465353370762756</c:v>
                </c:pt>
                <c:pt idx="127" formatCode="0">
                  <c:v>47.862208902664584</c:v>
                </c:pt>
                <c:pt idx="128" formatCode="0">
                  <c:v>50.528710681905373</c:v>
                </c:pt>
                <c:pt idx="129" formatCode="0">
                  <c:v>53.195212461146134</c:v>
                </c:pt>
                <c:pt idx="130" formatCode="0">
                  <c:v>55.944106149296047</c:v>
                </c:pt>
                <c:pt idx="131" formatCode="0">
                  <c:v>58.812842614041053</c:v>
                </c:pt>
                <c:pt idx="132" formatCode="0">
                  <c:v>61.883813764290267</c:v>
                </c:pt>
                <c:pt idx="133" formatCode="0">
                  <c:v>65.142039252969312</c:v>
                </c:pt>
                <c:pt idx="134" formatCode="0">
                  <c:v>68.572538733003796</c:v>
                </c:pt>
                <c:pt idx="135" formatCode="0">
                  <c:v>72.137861336707758</c:v>
                </c:pt>
                <c:pt idx="136" formatCode="0">
                  <c:v>75.838007064081197</c:v>
                </c:pt>
                <c:pt idx="137" formatCode="0">
                  <c:v>79.710426782810089</c:v>
                </c:pt>
                <c:pt idx="138" formatCode="0">
                  <c:v>83.807551707654767</c:v>
                </c:pt>
                <c:pt idx="139" formatCode="0">
                  <c:v>88.136872012152452</c:v>
                </c:pt>
                <c:pt idx="140" formatCode="0">
                  <c:v>92.668427002154317</c:v>
                </c:pt>
                <c:pt idx="141" formatCode="0">
                  <c:v>97.402216677660434</c:v>
                </c:pt>
                <c:pt idx="142" formatCode="0">
                  <c:v>102.36071155928235</c:v>
                </c:pt>
                <c:pt idx="143" formatCode="0">
                  <c:v>107.56638216763162</c:v>
                </c:pt>
                <c:pt idx="144" formatCode="0">
                  <c:v>113.04918919685701</c:v>
                </c:pt>
                <c:pt idx="145" formatCode="0">
                  <c:v>118.80164247342142</c:v>
                </c:pt>
                <c:pt idx="146" formatCode="0">
                  <c:v>124.83123217086195</c:v>
                </c:pt>
                <c:pt idx="147" formatCode="0">
                  <c:v>131.15293863625303</c:v>
                </c:pt>
                <c:pt idx="148" formatCode="0">
                  <c:v>137.77425204313181</c:v>
                </c:pt>
                <c:pt idx="149" formatCode="0">
                  <c:v>144.73262325918432</c:v>
                </c:pt>
                <c:pt idx="150" formatCode="0">
                  <c:v>152.02805228441048</c:v>
                </c:pt>
                <c:pt idx="151" formatCode="0">
                  <c:v>159.69049981295916</c:v>
                </c:pt>
                <c:pt idx="152" formatCode="0">
                  <c:v>167.72745601836743</c:v>
                </c:pt>
                <c:pt idx="153" formatCode="0">
                  <c:v>176.15390124770977</c:v>
                </c:pt>
                <c:pt idx="154" formatCode="0">
                  <c:v>184.98481584806058</c:v>
                </c:pt>
                <c:pt idx="155" formatCode="0">
                  <c:v>194.25765068710575</c:v>
                </c:pt>
                <c:pt idx="156" formatCode="0">
                  <c:v>203.98738611191979</c:v>
                </c:pt>
                <c:pt idx="157" formatCode="0">
                  <c:v>214.19649264311406</c:v>
                </c:pt>
                <c:pt idx="158" formatCode="0">
                  <c:v>224.89995062776316</c:v>
                </c:pt>
                <c:pt idx="159" formatCode="0">
                  <c:v>236.13521093355291</c:v>
                </c:pt>
                <c:pt idx="160" formatCode="0">
                  <c:v>247.91725390755789</c:v>
                </c:pt>
                <c:pt idx="161" formatCode="0">
                  <c:v>260.28353041746385</c:v>
                </c:pt>
                <c:pt idx="162" formatCode="0">
                  <c:v>273.25651098388255</c:v>
                </c:pt>
                <c:pt idx="163" formatCode="0">
                  <c:v>286.86615630096259</c:v>
                </c:pt>
                <c:pt idx="164" formatCode="0">
                  <c:v>301.14991723639002</c:v>
                </c:pt>
                <c:pt idx="165" formatCode="0">
                  <c:v>316.13026431077645</c:v>
                </c:pt>
                <c:pt idx="166" formatCode="0">
                  <c:v>331.83715821827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4.826833636560124</c:v>
                </c:pt>
                <c:pt idx="134" formatCode="0">
                  <c:v>79.830269559405167</c:v>
                </c:pt>
                <c:pt idx="135" formatCode="0">
                  <c:v>85.103351729589193</c:v>
                </c:pt>
                <c:pt idx="136" formatCode="0">
                  <c:v>90.616119452963403</c:v>
                </c:pt>
                <c:pt idx="137" formatCode="0">
                  <c:v>96.495905679660069</c:v>
                </c:pt>
                <c:pt idx="138" formatCode="0">
                  <c:v>102.81012197151394</c:v>
                </c:pt>
                <c:pt idx="139" formatCode="0">
                  <c:v>109.5737486755994</c:v>
                </c:pt>
                <c:pt idx="140" formatCode="0">
                  <c:v>116.7493349242305</c:v>
                </c:pt>
                <c:pt idx="141" formatCode="0">
                  <c:v>124.34437089094439</c:v>
                </c:pt>
                <c:pt idx="142" formatCode="0">
                  <c:v>132.3888172698899</c:v>
                </c:pt>
                <c:pt idx="143" formatCode="0">
                  <c:v>140.95757579643893</c:v>
                </c:pt>
                <c:pt idx="144" formatCode="0">
                  <c:v>150.10307768535185</c:v>
                </c:pt>
                <c:pt idx="145" formatCode="0">
                  <c:v>159.85528363077739</c:v>
                </c:pt>
                <c:pt idx="146" formatCode="0">
                  <c:v>170.20670345917839</c:v>
                </c:pt>
                <c:pt idx="147" formatCode="0">
                  <c:v>181.18729786470365</c:v>
                </c:pt>
                <c:pt idx="148" formatCode="0">
                  <c:v>192.85698823565065</c:v>
                </c:pt>
                <c:pt idx="149" formatCode="0">
                  <c:v>205.29067630739138</c:v>
                </c:pt>
                <c:pt idx="150" formatCode="0">
                  <c:v>218.52581294761177</c:v>
                </c:pt>
                <c:pt idx="151" formatCode="0">
                  <c:v>232.61482937107218</c:v>
                </c:pt>
                <c:pt idx="152" formatCode="0">
                  <c:v>247.57270592484699</c:v>
                </c:pt>
                <c:pt idx="153" formatCode="0">
                  <c:v>263.48183451784536</c:v>
                </c:pt>
                <c:pt idx="154" formatCode="0">
                  <c:v>280.39464636482762</c:v>
                </c:pt>
                <c:pt idx="155" formatCode="0">
                  <c:v>298.38604320116571</c:v>
                </c:pt>
                <c:pt idx="156" formatCode="0">
                  <c:v>317.5309267622315</c:v>
                </c:pt>
                <c:pt idx="157" formatCode="0">
                  <c:v>337.89670860985979</c:v>
                </c:pt>
                <c:pt idx="158" formatCode="0">
                  <c:v>359.54331013234821</c:v>
                </c:pt>
                <c:pt idx="159" formatCode="0">
                  <c:v>382.56810358568015</c:v>
                </c:pt>
                <c:pt idx="160" formatCode="0">
                  <c:v>407.04599070522744</c:v>
                </c:pt>
                <c:pt idx="161" formatCode="0">
                  <c:v>433.08932409404827</c:v>
                </c:pt>
                <c:pt idx="162" formatCode="0">
                  <c:v>460.79547600812595</c:v>
                </c:pt>
                <c:pt idx="163" formatCode="0">
                  <c:v>490.2543285299069</c:v>
                </c:pt>
                <c:pt idx="164" formatCode="0">
                  <c:v>521.58572443598609</c:v>
                </c:pt>
                <c:pt idx="165" formatCode="0">
                  <c:v>554.90201632942137</c:v>
                </c:pt>
                <c:pt idx="166" formatCode="0">
                  <c:v>590.3455175074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5.67322324626295</c:v>
                </c:pt>
                <c:pt idx="134" formatCode="0">
                  <c:v>82.062341273488741</c:v>
                </c:pt>
                <c:pt idx="135" formatCode="0">
                  <c:v>89.088124051375985</c:v>
                </c:pt>
                <c:pt idx="136" formatCode="0">
                  <c:v>96.615748456255147</c:v>
                </c:pt>
                <c:pt idx="137" formatCode="0">
                  <c:v>105.06466420620909</c:v>
                </c:pt>
                <c:pt idx="138" formatCode="0">
                  <c:v>114.70451754857673</c:v>
                </c:pt>
                <c:pt idx="139" formatCode="0">
                  <c:v>125.68511195410197</c:v>
                </c:pt>
                <c:pt idx="140" formatCode="0">
                  <c:v>137.22746937491669</c:v>
                </c:pt>
                <c:pt idx="141" formatCode="0">
                  <c:v>149.53382449652514</c:v>
                </c:pt>
                <c:pt idx="142" formatCode="0">
                  <c:v>162.90378426041502</c:v>
                </c:pt>
                <c:pt idx="143" formatCode="0">
                  <c:v>177.72683769052034</c:v>
                </c:pt>
                <c:pt idx="144" formatCode="0">
                  <c:v>194.08537669575028</c:v>
                </c:pt>
                <c:pt idx="145" formatCode="0">
                  <c:v>211.93446023488175</c:v>
                </c:pt>
                <c:pt idx="146" formatCode="0">
                  <c:v>231.24412761376581</c:v>
                </c:pt>
                <c:pt idx="147" formatCode="0">
                  <c:v>252.07430022070014</c:v>
                </c:pt>
                <c:pt idx="148" formatCode="0">
                  <c:v>274.81446707961868</c:v>
                </c:pt>
                <c:pt idx="149" formatCode="0">
                  <c:v>299.77172530554645</c:v>
                </c:pt>
                <c:pt idx="150" formatCode="0">
                  <c:v>327.10336854276443</c:v>
                </c:pt>
                <c:pt idx="151" formatCode="0">
                  <c:v>356.83186731188425</c:v>
                </c:pt>
                <c:pt idx="152" formatCode="0">
                  <c:v>389.12949560426136</c:v>
                </c:pt>
                <c:pt idx="153" formatCode="0">
                  <c:v>424.27338984077193</c:v>
                </c:pt>
                <c:pt idx="154" formatCode="0">
                  <c:v>457.61964242835597</c:v>
                </c:pt>
                <c:pt idx="155" formatCode="0">
                  <c:v>491.19809039559317</c:v>
                </c:pt>
                <c:pt idx="156" formatCode="0">
                  <c:v>526.19218116135983</c:v>
                </c:pt>
                <c:pt idx="157" formatCode="0">
                  <c:v>563.35842225291253</c:v>
                </c:pt>
                <c:pt idx="158" formatCode="0">
                  <c:v>601.50587607783768</c:v>
                </c:pt>
                <c:pt idx="159" formatCode="0">
                  <c:v>639.99787788547349</c:v>
                </c:pt>
                <c:pt idx="160" formatCode="0">
                  <c:v>678.50486004018364</c:v>
                </c:pt>
                <c:pt idx="161" formatCode="0">
                  <c:v>721.76810239101167</c:v>
                </c:pt>
                <c:pt idx="162" formatCode="0">
                  <c:v>769.0385875842378</c:v>
                </c:pt>
                <c:pt idx="163" formatCode="0">
                  <c:v>819.35757340710188</c:v>
                </c:pt>
                <c:pt idx="164" formatCode="0">
                  <c:v>871.66145521732199</c:v>
                </c:pt>
                <c:pt idx="165" formatCode="0">
                  <c:v>926.52697637726214</c:v>
                </c:pt>
                <c:pt idx="166" formatCode="0">
                  <c:v>984.83797736431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1F-4F8C-8040-ED76FB7F1E1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15.491837140627629</c:v>
                </c:pt>
                <c:pt idx="1">
                  <c:v>15.874351637927079</c:v>
                </c:pt>
                <c:pt idx="2">
                  <c:v>16.639380632525974</c:v>
                </c:pt>
                <c:pt idx="3">
                  <c:v>18.169438621723764</c:v>
                </c:pt>
                <c:pt idx="4">
                  <c:v>17.213152378475144</c:v>
                </c:pt>
                <c:pt idx="5">
                  <c:v>17.213152378475144</c:v>
                </c:pt>
                <c:pt idx="6">
                  <c:v>13.770521902780114</c:v>
                </c:pt>
                <c:pt idx="7">
                  <c:v>14.726808146028734</c:v>
                </c:pt>
                <c:pt idx="8">
                  <c:v>13.770521902780114</c:v>
                </c:pt>
                <c:pt idx="9">
                  <c:v>10.901663173034258</c:v>
                </c:pt>
                <c:pt idx="10">
                  <c:v>8.2240616919381253</c:v>
                </c:pt>
                <c:pt idx="11">
                  <c:v>8.7978334378872951</c:v>
                </c:pt>
                <c:pt idx="12">
                  <c:v>8.0328044432884003</c:v>
                </c:pt>
                <c:pt idx="13">
                  <c:v>7.0765182000397813</c:v>
                </c:pt>
                <c:pt idx="14">
                  <c:v>5.1639457135425433</c:v>
                </c:pt>
                <c:pt idx="15">
                  <c:v>4.3989167189436476</c:v>
                </c:pt>
                <c:pt idx="16">
                  <c:v>4.7814312162430959</c:v>
                </c:pt>
                <c:pt idx="17">
                  <c:v>5.1639457135425433</c:v>
                </c:pt>
                <c:pt idx="18">
                  <c:v>4.5901739675933717</c:v>
                </c:pt>
                <c:pt idx="19">
                  <c:v>4.9726884648928191</c:v>
                </c:pt>
                <c:pt idx="20">
                  <c:v>4.9726884648928191</c:v>
                </c:pt>
                <c:pt idx="21">
                  <c:v>4.0164022216442001</c:v>
                </c:pt>
                <c:pt idx="22">
                  <c:v>5.5464602108419907</c:v>
                </c:pt>
                <c:pt idx="23">
                  <c:v>5.9289747081414381</c:v>
                </c:pt>
                <c:pt idx="24">
                  <c:v>5.9289747081414381</c:v>
                </c:pt>
                <c:pt idx="25">
                  <c:v>6.1202319567911614</c:v>
                </c:pt>
                <c:pt idx="26">
                  <c:v>6.1202319567911614</c:v>
                </c:pt>
                <c:pt idx="27">
                  <c:v>5.7377174594917149</c:v>
                </c:pt>
                <c:pt idx="28">
                  <c:v>6.1202319567911614</c:v>
                </c:pt>
                <c:pt idx="29">
                  <c:v>4.7814312162430959</c:v>
                </c:pt>
                <c:pt idx="30">
                  <c:v>4.9726884648928191</c:v>
                </c:pt>
                <c:pt idx="31">
                  <c:v>4.3989167189436476</c:v>
                </c:pt>
                <c:pt idx="32">
                  <c:v>4.3989167189436476</c:v>
                </c:pt>
                <c:pt idx="33">
                  <c:v>4.7814312162430959</c:v>
                </c:pt>
                <c:pt idx="34">
                  <c:v>4.5901739675933717</c:v>
                </c:pt>
                <c:pt idx="35">
                  <c:v>4.3989167189436476</c:v>
                </c:pt>
                <c:pt idx="36">
                  <c:v>4.2076594702939243</c:v>
                </c:pt>
                <c:pt idx="37">
                  <c:v>4.5901739675933717</c:v>
                </c:pt>
                <c:pt idx="38">
                  <c:v>6.8852609513900571</c:v>
                </c:pt>
                <c:pt idx="39">
                  <c:v>8.6065761892375718</c:v>
                </c:pt>
                <c:pt idx="40">
                  <c:v>9.9453769297856383</c:v>
                </c:pt>
                <c:pt idx="41">
                  <c:v>12.049206664932601</c:v>
                </c:pt>
                <c:pt idx="42">
                  <c:v>15.300579891977906</c:v>
                </c:pt>
                <c:pt idx="43">
                  <c:v>16.448123383876251</c:v>
                </c:pt>
                <c:pt idx="44">
                  <c:v>17.213152378475144</c:v>
                </c:pt>
                <c:pt idx="45">
                  <c:v>16.065608886576801</c:v>
                </c:pt>
                <c:pt idx="46">
                  <c:v>14.535550897379009</c:v>
                </c:pt>
                <c:pt idx="47">
                  <c:v>12.622978410881773</c:v>
                </c:pt>
                <c:pt idx="48">
                  <c:v>11.666692167633155</c:v>
                </c:pt>
                <c:pt idx="49">
                  <c:v>9.5628624324861917</c:v>
                </c:pt>
                <c:pt idx="50">
                  <c:v>8.4153189405878486</c:v>
                </c:pt>
                <c:pt idx="51">
                  <c:v>7.4590326973392296</c:v>
                </c:pt>
                <c:pt idx="52">
                  <c:v>6.6940037027403338</c:v>
                </c:pt>
                <c:pt idx="53">
                  <c:v>6.3114892054408864</c:v>
                </c:pt>
                <c:pt idx="54">
                  <c:v>7.6502899459889528</c:v>
                </c:pt>
                <c:pt idx="55">
                  <c:v>7.0765182000397813</c:v>
                </c:pt>
                <c:pt idx="56">
                  <c:v>8.2240616919381253</c:v>
                </c:pt>
                <c:pt idx="57">
                  <c:v>9.754119681135915</c:v>
                </c:pt>
                <c:pt idx="58">
                  <c:v>11.47543491898343</c:v>
                </c:pt>
                <c:pt idx="59">
                  <c:v>11.666692167633155</c:v>
                </c:pt>
                <c:pt idx="60">
                  <c:v>12.814235659531496</c:v>
                </c:pt>
                <c:pt idx="61">
                  <c:v>13.388007405480668</c:v>
                </c:pt>
                <c:pt idx="62">
                  <c:v>13.196750156830943</c:v>
                </c:pt>
                <c:pt idx="63">
                  <c:v>13.005492908181219</c:v>
                </c:pt>
                <c:pt idx="64">
                  <c:v>12.622978410881773</c:v>
                </c:pt>
                <c:pt idx="65">
                  <c:v>10.710405924384535</c:v>
                </c:pt>
                <c:pt idx="66">
                  <c:v>10.901663173034258</c:v>
                </c:pt>
                <c:pt idx="67">
                  <c:v>10.136634178435363</c:v>
                </c:pt>
                <c:pt idx="68">
                  <c:v>8.7978334378872951</c:v>
                </c:pt>
                <c:pt idx="69">
                  <c:v>9.754119681135915</c:v>
                </c:pt>
                <c:pt idx="70">
                  <c:v>8.4153189405878486</c:v>
                </c:pt>
                <c:pt idx="71">
                  <c:v>7.6502899459889528</c:v>
                </c:pt>
                <c:pt idx="72">
                  <c:v>7.6502899459889528</c:v>
                </c:pt>
                <c:pt idx="73">
                  <c:v>7.0765182000397813</c:v>
                </c:pt>
                <c:pt idx="74">
                  <c:v>6.6940037027403338</c:v>
                </c:pt>
                <c:pt idx="75">
                  <c:v>6.1202319567911614</c:v>
                </c:pt>
                <c:pt idx="76">
                  <c:v>5.3552029621922674</c:v>
                </c:pt>
                <c:pt idx="77">
                  <c:v>5.1639457135425433</c:v>
                </c:pt>
                <c:pt idx="78">
                  <c:v>5.9289747081414381</c:v>
                </c:pt>
                <c:pt idx="79">
                  <c:v>5.5464602108419907</c:v>
                </c:pt>
                <c:pt idx="80">
                  <c:v>5.1639457135425433</c:v>
                </c:pt>
                <c:pt idx="81">
                  <c:v>5.9289747081414381</c:v>
                </c:pt>
                <c:pt idx="82">
                  <c:v>6.1202319567911614</c:v>
                </c:pt>
                <c:pt idx="83">
                  <c:v>5.3552029621922674</c:v>
                </c:pt>
                <c:pt idx="84">
                  <c:v>5.9289747081414381</c:v>
                </c:pt>
                <c:pt idx="85">
                  <c:v>5.9289747081414381</c:v>
                </c:pt>
                <c:pt idx="86">
                  <c:v>6.1202319567911614</c:v>
                </c:pt>
                <c:pt idx="87">
                  <c:v>6.3114892054408864</c:v>
                </c:pt>
                <c:pt idx="88">
                  <c:v>5.7377174594917149</c:v>
                </c:pt>
                <c:pt idx="89">
                  <c:v>6.1202319567911614</c:v>
                </c:pt>
                <c:pt idx="90">
                  <c:v>6.5027464540906097</c:v>
                </c:pt>
                <c:pt idx="91">
                  <c:v>6.6940037027403338</c:v>
                </c:pt>
                <c:pt idx="92">
                  <c:v>6.3114892054408864</c:v>
                </c:pt>
                <c:pt idx="93">
                  <c:v>8.9890906865370201</c:v>
                </c:pt>
                <c:pt idx="94">
                  <c:v>10.136634178435363</c:v>
                </c:pt>
                <c:pt idx="95">
                  <c:v>12.049206664932601</c:v>
                </c:pt>
                <c:pt idx="96">
                  <c:v>12.240463913582323</c:v>
                </c:pt>
                <c:pt idx="97">
                  <c:v>13.961779151429839</c:v>
                </c:pt>
                <c:pt idx="98">
                  <c:v>17.97818137307404</c:v>
                </c:pt>
                <c:pt idx="99">
                  <c:v>19.125724864972383</c:v>
                </c:pt>
                <c:pt idx="100">
                  <c:v>20.082011108221003</c:v>
                </c:pt>
                <c:pt idx="101">
                  <c:v>23.142127086616583</c:v>
                </c:pt>
                <c:pt idx="102">
                  <c:v>23.907156081215479</c:v>
                </c:pt>
                <c:pt idx="103">
                  <c:v>24.289670578514926</c:v>
                </c:pt>
                <c:pt idx="104">
                  <c:v>25.054699573113819</c:v>
                </c:pt>
                <c:pt idx="105">
                  <c:v>23.907156081215479</c:v>
                </c:pt>
                <c:pt idx="106">
                  <c:v>25.437214070413269</c:v>
                </c:pt>
                <c:pt idx="107">
                  <c:v>24.863442324464096</c:v>
                </c:pt>
                <c:pt idx="108">
                  <c:v>22.759612589317133</c:v>
                </c:pt>
                <c:pt idx="109">
                  <c:v>22.759612589317133</c:v>
                </c:pt>
                <c:pt idx="110">
                  <c:v>22.568355340667413</c:v>
                </c:pt>
                <c:pt idx="111">
                  <c:v>23.33338433526631</c:v>
                </c:pt>
                <c:pt idx="112">
                  <c:v>24.289670578514926</c:v>
                </c:pt>
                <c:pt idx="113">
                  <c:v>24.480927827164646</c:v>
                </c:pt>
                <c:pt idx="114">
                  <c:v>22.759612589317133</c:v>
                </c:pt>
                <c:pt idx="115">
                  <c:v>22.950869837966859</c:v>
                </c:pt>
                <c:pt idx="116">
                  <c:v>21.612069097418793</c:v>
                </c:pt>
                <c:pt idx="117">
                  <c:v>21.42081184876907</c:v>
                </c:pt>
                <c:pt idx="118">
                  <c:v>19.890753859571277</c:v>
                </c:pt>
                <c:pt idx="119">
                  <c:v>19.50823936227183</c:v>
                </c:pt>
                <c:pt idx="120">
                  <c:v>20.273268356870727</c:v>
                </c:pt>
                <c:pt idx="121">
                  <c:v>21.612069097418793</c:v>
                </c:pt>
                <c:pt idx="122">
                  <c:v>22.37709809201769</c:v>
                </c:pt>
                <c:pt idx="123">
                  <c:v>22.759612589317133</c:v>
                </c:pt>
                <c:pt idx="124">
                  <c:v>25.819728567712719</c:v>
                </c:pt>
                <c:pt idx="125">
                  <c:v>27.732301054209952</c:v>
                </c:pt>
                <c:pt idx="126">
                  <c:v>29.836130789356918</c:v>
                </c:pt>
                <c:pt idx="127">
                  <c:v>29.836130789356918</c:v>
                </c:pt>
                <c:pt idx="128">
                  <c:v>32.322475021803328</c:v>
                </c:pt>
                <c:pt idx="129">
                  <c:v>33.470018513701667</c:v>
                </c:pt>
                <c:pt idx="130">
                  <c:v>37.868935232645313</c:v>
                </c:pt>
                <c:pt idx="131">
                  <c:v>38.442706978594487</c:v>
                </c:pt>
                <c:pt idx="132">
                  <c:v>40.546536713741453</c:v>
                </c:pt>
                <c:pt idx="133">
                  <c:v>41.88533745428952</c:v>
                </c:pt>
                <c:pt idx="134">
                  <c:v>47.431797665131505</c:v>
                </c:pt>
                <c:pt idx="135">
                  <c:v>52.978257875973505</c:v>
                </c:pt>
                <c:pt idx="136">
                  <c:v>59.289747081414383</c:v>
                </c:pt>
                <c:pt idx="137">
                  <c:v>61.011062319261903</c:v>
                </c:pt>
                <c:pt idx="138">
                  <c:v>62.15860581116025</c:v>
                </c:pt>
                <c:pt idx="139">
                  <c:v>74.39906972474256</c:v>
                </c:pt>
                <c:pt idx="140">
                  <c:v>93.524794589714944</c:v>
                </c:pt>
                <c:pt idx="141">
                  <c:v>104.23520051409949</c:v>
                </c:pt>
                <c:pt idx="142">
                  <c:v>114.37183469253485</c:v>
                </c:pt>
                <c:pt idx="143">
                  <c:v>129.09864283856359</c:v>
                </c:pt>
                <c:pt idx="144">
                  <c:v>133.68881680615695</c:v>
                </c:pt>
                <c:pt idx="145">
                  <c:v>146.12053796838899</c:v>
                </c:pt>
                <c:pt idx="146">
                  <c:v>163.14243309821444</c:v>
                </c:pt>
                <c:pt idx="147">
                  <c:v>173.85283902259897</c:v>
                </c:pt>
                <c:pt idx="148">
                  <c:v>191.06599140107411</c:v>
                </c:pt>
                <c:pt idx="149">
                  <c:v>193.93485013081997</c:v>
                </c:pt>
                <c:pt idx="150">
                  <c:v>216.12069097418791</c:v>
                </c:pt>
                <c:pt idx="151">
                  <c:v>239.64533255810395</c:v>
                </c:pt>
                <c:pt idx="152">
                  <c:v>240.98413329865201</c:v>
                </c:pt>
                <c:pt idx="153">
                  <c:v>271.39403583395807</c:v>
                </c:pt>
                <c:pt idx="154">
                  <c:v>306.77662683415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61F-4F8C-8040-ED76FB7F1E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21.803326346068516</c:v>
                </c:pt>
                <c:pt idx="123">
                  <c:v>22.568355340667413</c:v>
                </c:pt>
                <c:pt idx="124">
                  <c:v>23.524641583916029</c:v>
                </c:pt>
                <c:pt idx="125">
                  <c:v>24.289670578514926</c:v>
                </c:pt>
                <c:pt idx="126">
                  <c:v>25.245956821763546</c:v>
                </c:pt>
                <c:pt idx="127">
                  <c:v>26.202243065012162</c:v>
                </c:pt>
                <c:pt idx="128">
                  <c:v>27.349786556910509</c:v>
                </c:pt>
                <c:pt idx="129">
                  <c:v>28.497330048808852</c:v>
                </c:pt>
                <c:pt idx="130">
                  <c:v>29.644873540707191</c:v>
                </c:pt>
                <c:pt idx="131">
                  <c:v>30.601159783955811</c:v>
                </c:pt>
                <c:pt idx="132">
                  <c:v>31.748703275854158</c:v>
                </c:pt>
                <c:pt idx="133">
                  <c:v>32.896246767752501</c:v>
                </c:pt>
                <c:pt idx="134">
                  <c:v>34.043790259650841</c:v>
                </c:pt>
                <c:pt idx="135">
                  <c:v>35.19133375154918</c:v>
                </c:pt>
                <c:pt idx="136">
                  <c:v>36.338877243447527</c:v>
                </c:pt>
                <c:pt idx="137">
                  <c:v>37.677677983995594</c:v>
                </c:pt>
                <c:pt idx="138">
                  <c:v>39.207735973193387</c:v>
                </c:pt>
                <c:pt idx="139">
                  <c:v>40.73779396239118</c:v>
                </c:pt>
                <c:pt idx="140">
                  <c:v>42.267851951588959</c:v>
                </c:pt>
                <c:pt idx="141">
                  <c:v>43.797909940786752</c:v>
                </c:pt>
                <c:pt idx="142">
                  <c:v>45.519225178634265</c:v>
                </c:pt>
                <c:pt idx="143">
                  <c:v>47.240540416481785</c:v>
                </c:pt>
                <c:pt idx="144">
                  <c:v>48.961855654329291</c:v>
                </c:pt>
                <c:pt idx="145">
                  <c:v>50.683170892176811</c:v>
                </c:pt>
                <c:pt idx="146">
                  <c:v>52.404486130024324</c:v>
                </c:pt>
                <c:pt idx="147">
                  <c:v>54.317058616521571</c:v>
                </c:pt>
                <c:pt idx="148">
                  <c:v>56.420888351668523</c:v>
                </c:pt>
                <c:pt idx="149">
                  <c:v>58.33346083816577</c:v>
                </c:pt>
                <c:pt idx="150">
                  <c:v>60.43729057331273</c:v>
                </c:pt>
                <c:pt idx="151">
                  <c:v>62.541120308459689</c:v>
                </c:pt>
                <c:pt idx="152">
                  <c:v>64.836207292256375</c:v>
                </c:pt>
                <c:pt idx="153">
                  <c:v>67.322551524702789</c:v>
                </c:pt>
                <c:pt idx="154">
                  <c:v>69.617638508499482</c:v>
                </c:pt>
                <c:pt idx="155">
                  <c:v>72.103982740945881</c:v>
                </c:pt>
                <c:pt idx="156">
                  <c:v>74.781584222042014</c:v>
                </c:pt>
                <c:pt idx="157">
                  <c:v>77.459185703138147</c:v>
                </c:pt>
                <c:pt idx="158">
                  <c:v>80.136787184234279</c:v>
                </c:pt>
                <c:pt idx="159">
                  <c:v>82.814388665330426</c:v>
                </c:pt>
                <c:pt idx="160">
                  <c:v>85.683247395076279</c:v>
                </c:pt>
                <c:pt idx="161">
                  <c:v>88.743363373471851</c:v>
                </c:pt>
                <c:pt idx="162">
                  <c:v>91.803479351867438</c:v>
                </c:pt>
                <c:pt idx="163">
                  <c:v>94.86359533026301</c:v>
                </c:pt>
                <c:pt idx="164">
                  <c:v>98.11496855730833</c:v>
                </c:pt>
                <c:pt idx="165">
                  <c:v>101.55759903300336</c:v>
                </c:pt>
                <c:pt idx="166">
                  <c:v>105.1914867573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61F-4F8C-8040-ED76FB7F1E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21.99458359471824</c:v>
                </c:pt>
                <c:pt idx="123">
                  <c:v>22.950869837966859</c:v>
                </c:pt>
                <c:pt idx="124">
                  <c:v>24.098413329865203</c:v>
                </c:pt>
                <c:pt idx="125">
                  <c:v>25.245956821763546</c:v>
                </c:pt>
                <c:pt idx="126">
                  <c:v>26.584757562311612</c:v>
                </c:pt>
                <c:pt idx="127">
                  <c:v>27.923558302859679</c:v>
                </c:pt>
                <c:pt idx="128">
                  <c:v>29.644873540707191</c:v>
                </c:pt>
                <c:pt idx="129">
                  <c:v>31.174931529904985</c:v>
                </c:pt>
                <c:pt idx="130">
                  <c:v>32.704989519102774</c:v>
                </c:pt>
                <c:pt idx="131">
                  <c:v>34.426304756950287</c:v>
                </c:pt>
                <c:pt idx="132">
                  <c:v>36.147619994797807</c:v>
                </c:pt>
                <c:pt idx="133">
                  <c:v>38.06019248129504</c:v>
                </c:pt>
                <c:pt idx="134">
                  <c:v>40.164022216442007</c:v>
                </c:pt>
                <c:pt idx="135">
                  <c:v>42.267851951588959</c:v>
                </c:pt>
                <c:pt idx="136">
                  <c:v>44.371681686735926</c:v>
                </c:pt>
                <c:pt idx="137">
                  <c:v>46.666768670532619</c:v>
                </c:pt>
                <c:pt idx="138">
                  <c:v>48.961855654329291</c:v>
                </c:pt>
                <c:pt idx="139">
                  <c:v>51.639457135425438</c:v>
                </c:pt>
                <c:pt idx="140">
                  <c:v>54.317058616521571</c:v>
                </c:pt>
                <c:pt idx="141">
                  <c:v>56.994660097617704</c:v>
                </c:pt>
                <c:pt idx="142">
                  <c:v>59.863518827363556</c:v>
                </c:pt>
                <c:pt idx="143">
                  <c:v>62.923634805759136</c:v>
                </c:pt>
                <c:pt idx="144">
                  <c:v>66.175008032804442</c:v>
                </c:pt>
                <c:pt idx="145">
                  <c:v>69.617638508499482</c:v>
                </c:pt>
                <c:pt idx="146">
                  <c:v>73.060268984194494</c:v>
                </c:pt>
                <c:pt idx="147">
                  <c:v>76.694156708539253</c:v>
                </c:pt>
                <c:pt idx="148">
                  <c:v>80.519301681533733</c:v>
                </c:pt>
                <c:pt idx="149">
                  <c:v>84.535703903177918</c:v>
                </c:pt>
                <c:pt idx="150">
                  <c:v>88.934620622121585</c:v>
                </c:pt>
                <c:pt idx="151">
                  <c:v>93.333537341065238</c:v>
                </c:pt>
                <c:pt idx="152">
                  <c:v>98.11496855730833</c:v>
                </c:pt>
                <c:pt idx="153">
                  <c:v>103.08765702220113</c:v>
                </c:pt>
                <c:pt idx="154">
                  <c:v>108.25160273574367</c:v>
                </c:pt>
                <c:pt idx="155">
                  <c:v>113.79806294658569</c:v>
                </c:pt>
                <c:pt idx="156">
                  <c:v>119.53578040607739</c:v>
                </c:pt>
                <c:pt idx="157">
                  <c:v>125.46475511421883</c:v>
                </c:pt>
                <c:pt idx="158">
                  <c:v>131.77624431965972</c:v>
                </c:pt>
                <c:pt idx="159">
                  <c:v>138.27899077375031</c:v>
                </c:pt>
                <c:pt idx="160">
                  <c:v>145.16425172514039</c:v>
                </c:pt>
                <c:pt idx="161">
                  <c:v>152.43202717382991</c:v>
                </c:pt>
                <c:pt idx="162">
                  <c:v>160.08231711981884</c:v>
                </c:pt>
                <c:pt idx="163">
                  <c:v>167.92386431445752</c:v>
                </c:pt>
                <c:pt idx="164">
                  <c:v>176.33918325504538</c:v>
                </c:pt>
                <c:pt idx="165">
                  <c:v>185.13701669293266</c:v>
                </c:pt>
                <c:pt idx="166">
                  <c:v>194.31736462811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61F-4F8C-8040-ED76FB7F1E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22.185840843367963</c:v>
                </c:pt>
                <c:pt idx="123">
                  <c:v>23.33338433526631</c:v>
                </c:pt>
                <c:pt idx="124">
                  <c:v>24.672185075814372</c:v>
                </c:pt>
                <c:pt idx="125">
                  <c:v>26.010985816362439</c:v>
                </c:pt>
                <c:pt idx="126">
                  <c:v>27.732301054209952</c:v>
                </c:pt>
                <c:pt idx="127">
                  <c:v>29.644873540707191</c:v>
                </c:pt>
                <c:pt idx="128">
                  <c:v>31.939960524503878</c:v>
                </c:pt>
                <c:pt idx="129">
                  <c:v>34.043790259650841</c:v>
                </c:pt>
                <c:pt idx="130">
                  <c:v>36.338877243447527</c:v>
                </c:pt>
                <c:pt idx="131">
                  <c:v>38.82522147589394</c:v>
                </c:pt>
                <c:pt idx="132">
                  <c:v>41.502822956990073</c:v>
                </c:pt>
                <c:pt idx="133">
                  <c:v>44.180424438086199</c:v>
                </c:pt>
                <c:pt idx="134">
                  <c:v>47.049283167832058</c:v>
                </c:pt>
                <c:pt idx="135">
                  <c:v>50.109399146227638</c:v>
                </c:pt>
                <c:pt idx="136">
                  <c:v>53.360772373272951</c:v>
                </c:pt>
                <c:pt idx="137">
                  <c:v>56.80340284896797</c:v>
                </c:pt>
                <c:pt idx="138">
                  <c:v>60.43729057331273</c:v>
                </c:pt>
                <c:pt idx="139">
                  <c:v>64.262435546307202</c:v>
                </c:pt>
                <c:pt idx="140">
                  <c:v>68.470095016601135</c:v>
                </c:pt>
                <c:pt idx="141">
                  <c:v>72.869011735544774</c:v>
                </c:pt>
                <c:pt idx="142">
                  <c:v>77.459185703138147</c:v>
                </c:pt>
                <c:pt idx="143">
                  <c:v>82.431874168030973</c:v>
                </c:pt>
                <c:pt idx="144">
                  <c:v>87.787077130223238</c:v>
                </c:pt>
                <c:pt idx="145">
                  <c:v>93.524794589714944</c:v>
                </c:pt>
                <c:pt idx="146">
                  <c:v>99.645026546506102</c:v>
                </c:pt>
                <c:pt idx="147">
                  <c:v>106.14777300059673</c:v>
                </c:pt>
                <c:pt idx="148">
                  <c:v>113.03303395198678</c:v>
                </c:pt>
                <c:pt idx="149">
                  <c:v>120.30080940067629</c:v>
                </c:pt>
                <c:pt idx="150">
                  <c:v>127.95109934666525</c:v>
                </c:pt>
                <c:pt idx="151">
                  <c:v>136.17516103860336</c:v>
                </c:pt>
                <c:pt idx="152">
                  <c:v>144.78173722784095</c:v>
                </c:pt>
                <c:pt idx="153">
                  <c:v>154.15334241167741</c:v>
                </c:pt>
                <c:pt idx="154">
                  <c:v>164.09871934146304</c:v>
                </c:pt>
                <c:pt idx="155">
                  <c:v>174.61786801719785</c:v>
                </c:pt>
                <c:pt idx="156">
                  <c:v>185.90204568753157</c:v>
                </c:pt>
                <c:pt idx="157">
                  <c:v>197.95125235246417</c:v>
                </c:pt>
                <c:pt idx="158">
                  <c:v>210.57423076334592</c:v>
                </c:pt>
                <c:pt idx="159">
                  <c:v>224.15349541747634</c:v>
                </c:pt>
                <c:pt idx="160">
                  <c:v>238.49778906620563</c:v>
                </c:pt>
                <c:pt idx="161">
                  <c:v>253.60711170953377</c:v>
                </c:pt>
                <c:pt idx="162">
                  <c:v>269.86397784476031</c:v>
                </c:pt>
                <c:pt idx="163">
                  <c:v>287.07713022323543</c:v>
                </c:pt>
                <c:pt idx="164">
                  <c:v>305.24656884495926</c:v>
                </c:pt>
                <c:pt idx="165">
                  <c:v>324.75480820723106</c:v>
                </c:pt>
                <c:pt idx="166">
                  <c:v>345.41059106140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61F-4F8C-8040-ED76FB7F1E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22.185840843367963</c:v>
                </c:pt>
                <c:pt idx="123">
                  <c:v>23.33338433526631</c:v>
                </c:pt>
                <c:pt idx="124">
                  <c:v>24.672185075814372</c:v>
                </c:pt>
                <c:pt idx="125">
                  <c:v>26.010985816362439</c:v>
                </c:pt>
                <c:pt idx="126">
                  <c:v>27.732301054209952</c:v>
                </c:pt>
                <c:pt idx="127">
                  <c:v>29.644873540707191</c:v>
                </c:pt>
                <c:pt idx="128">
                  <c:v>31.939960524503878</c:v>
                </c:pt>
                <c:pt idx="129">
                  <c:v>34.043790259650841</c:v>
                </c:pt>
                <c:pt idx="130">
                  <c:v>36.338877243447527</c:v>
                </c:pt>
                <c:pt idx="131">
                  <c:v>38.82522147589394</c:v>
                </c:pt>
                <c:pt idx="132">
                  <c:v>41.502822956990073</c:v>
                </c:pt>
                <c:pt idx="133">
                  <c:v>44.754196184035379</c:v>
                </c:pt>
                <c:pt idx="134">
                  <c:v>48.388083908380125</c:v>
                </c:pt>
                <c:pt idx="135">
                  <c:v>52.404486130024324</c:v>
                </c:pt>
                <c:pt idx="136">
                  <c:v>56.80340284896797</c:v>
                </c:pt>
                <c:pt idx="137">
                  <c:v>61.584834065211069</c:v>
                </c:pt>
                <c:pt idx="138">
                  <c:v>67.131294276053069</c:v>
                </c:pt>
                <c:pt idx="139">
                  <c:v>73.442783481493947</c:v>
                </c:pt>
                <c:pt idx="140">
                  <c:v>80.136787184234279</c:v>
                </c:pt>
                <c:pt idx="141">
                  <c:v>87.404562632923785</c:v>
                </c:pt>
                <c:pt idx="142">
                  <c:v>95.246109827562464</c:v>
                </c:pt>
                <c:pt idx="143">
                  <c:v>103.85268601680004</c:v>
                </c:pt>
                <c:pt idx="144">
                  <c:v>113.41554844928622</c:v>
                </c:pt>
                <c:pt idx="145">
                  <c:v>123.93469712502103</c:v>
                </c:pt>
                <c:pt idx="146">
                  <c:v>135.21887479535474</c:v>
                </c:pt>
                <c:pt idx="147">
                  <c:v>147.45933870893708</c:v>
                </c:pt>
                <c:pt idx="148">
                  <c:v>160.65608886576803</c:v>
                </c:pt>
                <c:pt idx="149">
                  <c:v>175.19163976314701</c:v>
                </c:pt>
                <c:pt idx="150">
                  <c:v>191.25724864972383</c:v>
                </c:pt>
                <c:pt idx="151">
                  <c:v>208.6616582768487</c:v>
                </c:pt>
                <c:pt idx="152">
                  <c:v>227.4048686445216</c:v>
                </c:pt>
                <c:pt idx="153">
                  <c:v>248.06065149869178</c:v>
                </c:pt>
                <c:pt idx="154">
                  <c:v>267.56889086096362</c:v>
                </c:pt>
                <c:pt idx="155">
                  <c:v>287.26838747188521</c:v>
                </c:pt>
                <c:pt idx="156">
                  <c:v>307.73291307740561</c:v>
                </c:pt>
                <c:pt idx="157">
                  <c:v>329.34498217482439</c:v>
                </c:pt>
                <c:pt idx="158">
                  <c:v>351.72208026684211</c:v>
                </c:pt>
                <c:pt idx="159">
                  <c:v>374.29043560750949</c:v>
                </c:pt>
                <c:pt idx="160">
                  <c:v>396.85879094817693</c:v>
                </c:pt>
                <c:pt idx="161">
                  <c:v>422.10474776994045</c:v>
                </c:pt>
                <c:pt idx="162">
                  <c:v>449.83704882415043</c:v>
                </c:pt>
                <c:pt idx="163">
                  <c:v>479.29066511620789</c:v>
                </c:pt>
                <c:pt idx="164">
                  <c:v>509.89182490016373</c:v>
                </c:pt>
                <c:pt idx="165">
                  <c:v>542.02304267331726</c:v>
                </c:pt>
                <c:pt idx="166">
                  <c:v>576.25809018161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61F-4F8C-8040-ED76FB7F1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02</c:v>
                </c:pt>
                <c:pt idx="1">
                  <c:v>16</c:v>
                </c:pt>
                <c:pt idx="2">
                  <c:v>79</c:v>
                </c:pt>
                <c:pt idx="3">
                  <c:v>174</c:v>
                </c:pt>
                <c:pt idx="4">
                  <c:v>154</c:v>
                </c:pt>
                <c:pt idx="5">
                  <c:v>108</c:v>
                </c:pt>
                <c:pt idx="6">
                  <c:v>181</c:v>
                </c:pt>
                <c:pt idx="7">
                  <c:v>42</c:v>
                </c:pt>
                <c:pt idx="8">
                  <c:v>23</c:v>
                </c:pt>
                <c:pt idx="9">
                  <c:v>62</c:v>
                </c:pt>
                <c:pt idx="10">
                  <c:v>118</c:v>
                </c:pt>
                <c:pt idx="11">
                  <c:v>73</c:v>
                </c:pt>
                <c:pt idx="12">
                  <c:v>79</c:v>
                </c:pt>
                <c:pt idx="13">
                  <c:v>75</c:v>
                </c:pt>
                <c:pt idx="14">
                  <c:v>42</c:v>
                </c:pt>
                <c:pt idx="15">
                  <c:v>4</c:v>
                </c:pt>
                <c:pt idx="16">
                  <c:v>47</c:v>
                </c:pt>
                <c:pt idx="17">
                  <c:v>58</c:v>
                </c:pt>
                <c:pt idx="18">
                  <c:v>46</c:v>
                </c:pt>
                <c:pt idx="19">
                  <c:v>45</c:v>
                </c:pt>
                <c:pt idx="20">
                  <c:v>44</c:v>
                </c:pt>
                <c:pt idx="21">
                  <c:v>11</c:v>
                </c:pt>
                <c:pt idx="22">
                  <c:v>5</c:v>
                </c:pt>
                <c:pt idx="23">
                  <c:v>28</c:v>
                </c:pt>
                <c:pt idx="24">
                  <c:v>14</c:v>
                </c:pt>
                <c:pt idx="25">
                  <c:v>48</c:v>
                </c:pt>
                <c:pt idx="26">
                  <c:v>33</c:v>
                </c:pt>
                <c:pt idx="27">
                  <c:v>27</c:v>
                </c:pt>
                <c:pt idx="28">
                  <c:v>5</c:v>
                </c:pt>
                <c:pt idx="29">
                  <c:v>3</c:v>
                </c:pt>
                <c:pt idx="30">
                  <c:v>22</c:v>
                </c:pt>
                <c:pt idx="31">
                  <c:v>14</c:v>
                </c:pt>
                <c:pt idx="32">
                  <c:v>11</c:v>
                </c:pt>
                <c:pt idx="33">
                  <c:v>14</c:v>
                </c:pt>
                <c:pt idx="34">
                  <c:v>14</c:v>
                </c:pt>
                <c:pt idx="35">
                  <c:v>1</c:v>
                </c:pt>
                <c:pt idx="36">
                  <c:v>1</c:v>
                </c:pt>
                <c:pt idx="37">
                  <c:v>17</c:v>
                </c:pt>
                <c:pt idx="38">
                  <c:v>22</c:v>
                </c:pt>
                <c:pt idx="39">
                  <c:v>8</c:v>
                </c:pt>
                <c:pt idx="40">
                  <c:v>14</c:v>
                </c:pt>
                <c:pt idx="41">
                  <c:v>10</c:v>
                </c:pt>
                <c:pt idx="42">
                  <c:v>0</c:v>
                </c:pt>
                <c:pt idx="43">
                  <c:v>0</c:v>
                </c:pt>
                <c:pt idx="44">
                  <c:v>8</c:v>
                </c:pt>
                <c:pt idx="45">
                  <c:v>11</c:v>
                </c:pt>
                <c:pt idx="46">
                  <c:v>6</c:v>
                </c:pt>
                <c:pt idx="47">
                  <c:v>3</c:v>
                </c:pt>
                <c:pt idx="48">
                  <c:v>3</c:v>
                </c:pt>
                <c:pt idx="49">
                  <c:v>7</c:v>
                </c:pt>
                <c:pt idx="50">
                  <c:v>1</c:v>
                </c:pt>
                <c:pt idx="51">
                  <c:v>2</c:v>
                </c:pt>
                <c:pt idx="52">
                  <c:v>5</c:v>
                </c:pt>
                <c:pt idx="53">
                  <c:v>0</c:v>
                </c:pt>
                <c:pt idx="54">
                  <c:v>0</c:v>
                </c:pt>
                <c:pt idx="55">
                  <c:v>3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5</c:v>
                </c:pt>
                <c:pt idx="60">
                  <c:v>0</c:v>
                </c:pt>
                <c:pt idx="61">
                  <c:v>3</c:v>
                </c:pt>
                <c:pt idx="62">
                  <c:v>4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19</c:v>
                </c:pt>
                <c:pt idx="68">
                  <c:v>15</c:v>
                </c:pt>
                <c:pt idx="69">
                  <c:v>9</c:v>
                </c:pt>
                <c:pt idx="70">
                  <c:v>8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13</c:v>
                </c:pt>
                <c:pt idx="75">
                  <c:v>3</c:v>
                </c:pt>
                <c:pt idx="76">
                  <c:v>5</c:v>
                </c:pt>
                <c:pt idx="77">
                  <c:v>5</c:v>
                </c:pt>
                <c:pt idx="78">
                  <c:v>0</c:v>
                </c:pt>
                <c:pt idx="79">
                  <c:v>1</c:v>
                </c:pt>
                <c:pt idx="80">
                  <c:v>12</c:v>
                </c:pt>
                <c:pt idx="81">
                  <c:v>8</c:v>
                </c:pt>
                <c:pt idx="82">
                  <c:v>3</c:v>
                </c:pt>
                <c:pt idx="83">
                  <c:v>6</c:v>
                </c:pt>
                <c:pt idx="84">
                  <c:v>1</c:v>
                </c:pt>
                <c:pt idx="85">
                  <c:v>1</c:v>
                </c:pt>
                <c:pt idx="86">
                  <c:v>4</c:v>
                </c:pt>
                <c:pt idx="87">
                  <c:v>15</c:v>
                </c:pt>
                <c:pt idx="88">
                  <c:v>4</c:v>
                </c:pt>
                <c:pt idx="89">
                  <c:v>5</c:v>
                </c:pt>
                <c:pt idx="90">
                  <c:v>6</c:v>
                </c:pt>
                <c:pt idx="91">
                  <c:v>6</c:v>
                </c:pt>
                <c:pt idx="92">
                  <c:v>5</c:v>
                </c:pt>
                <c:pt idx="93">
                  <c:v>5</c:v>
                </c:pt>
                <c:pt idx="94">
                  <c:v>13</c:v>
                </c:pt>
                <c:pt idx="95">
                  <c:v>13</c:v>
                </c:pt>
                <c:pt idx="96">
                  <c:v>9</c:v>
                </c:pt>
                <c:pt idx="97">
                  <c:v>9</c:v>
                </c:pt>
                <c:pt idx="98">
                  <c:v>8</c:v>
                </c:pt>
                <c:pt idx="99">
                  <c:v>1</c:v>
                </c:pt>
                <c:pt idx="100">
                  <c:v>11</c:v>
                </c:pt>
                <c:pt idx="101">
                  <c:v>20</c:v>
                </c:pt>
                <c:pt idx="102">
                  <c:v>10</c:v>
                </c:pt>
                <c:pt idx="103">
                  <c:v>7</c:v>
                </c:pt>
                <c:pt idx="104">
                  <c:v>6</c:v>
                </c:pt>
                <c:pt idx="105">
                  <c:v>2</c:v>
                </c:pt>
                <c:pt idx="106">
                  <c:v>2</c:v>
                </c:pt>
                <c:pt idx="107">
                  <c:v>14</c:v>
                </c:pt>
                <c:pt idx="108">
                  <c:v>16</c:v>
                </c:pt>
                <c:pt idx="109">
                  <c:v>9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0</c:v>
                </c:pt>
                <c:pt idx="114">
                  <c:v>4</c:v>
                </c:pt>
                <c:pt idx="115">
                  <c:v>10</c:v>
                </c:pt>
                <c:pt idx="116">
                  <c:v>19</c:v>
                </c:pt>
                <c:pt idx="117">
                  <c:v>8</c:v>
                </c:pt>
                <c:pt idx="118">
                  <c:v>7</c:v>
                </c:pt>
                <c:pt idx="119">
                  <c:v>1</c:v>
                </c:pt>
                <c:pt idx="120">
                  <c:v>2</c:v>
                </c:pt>
                <c:pt idx="121">
                  <c:v>3</c:v>
                </c:pt>
                <c:pt idx="122">
                  <c:v>16</c:v>
                </c:pt>
                <c:pt idx="123">
                  <c:v>13</c:v>
                </c:pt>
                <c:pt idx="124">
                  <c:v>9</c:v>
                </c:pt>
                <c:pt idx="125">
                  <c:v>16</c:v>
                </c:pt>
                <c:pt idx="126">
                  <c:v>3</c:v>
                </c:pt>
                <c:pt idx="127">
                  <c:v>4</c:v>
                </c:pt>
                <c:pt idx="128">
                  <c:v>16</c:v>
                </c:pt>
                <c:pt idx="129">
                  <c:v>13</c:v>
                </c:pt>
                <c:pt idx="130">
                  <c:v>32</c:v>
                </c:pt>
                <c:pt idx="131">
                  <c:v>11</c:v>
                </c:pt>
                <c:pt idx="132">
                  <c:v>25</c:v>
                </c:pt>
                <c:pt idx="133">
                  <c:v>8</c:v>
                </c:pt>
                <c:pt idx="134">
                  <c:v>2</c:v>
                </c:pt>
                <c:pt idx="135">
                  <c:v>19</c:v>
                </c:pt>
                <c:pt idx="136">
                  <c:v>12</c:v>
                </c:pt>
                <c:pt idx="137">
                  <c:v>11</c:v>
                </c:pt>
                <c:pt idx="138">
                  <c:v>12</c:v>
                </c:pt>
                <c:pt idx="139">
                  <c:v>18</c:v>
                </c:pt>
                <c:pt idx="140">
                  <c:v>7</c:v>
                </c:pt>
                <c:pt idx="141">
                  <c:v>3</c:v>
                </c:pt>
                <c:pt idx="142">
                  <c:v>8</c:v>
                </c:pt>
                <c:pt idx="143">
                  <c:v>23</c:v>
                </c:pt>
                <c:pt idx="144">
                  <c:v>16</c:v>
                </c:pt>
                <c:pt idx="145">
                  <c:v>8</c:v>
                </c:pt>
                <c:pt idx="146">
                  <c:v>18</c:v>
                </c:pt>
                <c:pt idx="147">
                  <c:v>17</c:v>
                </c:pt>
                <c:pt idx="148">
                  <c:v>9</c:v>
                </c:pt>
                <c:pt idx="149">
                  <c:v>20</c:v>
                </c:pt>
                <c:pt idx="150">
                  <c:v>14</c:v>
                </c:pt>
                <c:pt idx="151">
                  <c:v>13</c:v>
                </c:pt>
                <c:pt idx="152">
                  <c:v>21</c:v>
                </c:pt>
                <c:pt idx="153">
                  <c:v>28</c:v>
                </c:pt>
                <c:pt idx="154">
                  <c:v>12</c:v>
                </c:pt>
                <c:pt idx="155">
                  <c:v>7</c:v>
                </c:pt>
                <c:pt idx="156">
                  <c:v>26</c:v>
                </c:pt>
                <c:pt idx="157">
                  <c:v>32</c:v>
                </c:pt>
                <c:pt idx="158">
                  <c:v>37</c:v>
                </c:pt>
                <c:pt idx="159">
                  <c:v>32</c:v>
                </c:pt>
                <c:pt idx="160">
                  <c:v>31</c:v>
                </c:pt>
                <c:pt idx="161">
                  <c:v>10</c:v>
                </c:pt>
                <c:pt idx="162">
                  <c:v>4</c:v>
                </c:pt>
                <c:pt idx="163">
                  <c:v>32</c:v>
                </c:pt>
                <c:pt idx="164">
                  <c:v>36</c:v>
                </c:pt>
                <c:pt idx="165">
                  <c:v>52</c:v>
                </c:pt>
                <c:pt idx="166">
                  <c:v>41</c:v>
                </c:pt>
                <c:pt idx="167">
                  <c:v>112</c:v>
                </c:pt>
                <c:pt idx="168">
                  <c:v>30</c:v>
                </c:pt>
                <c:pt idx="169">
                  <c:v>12</c:v>
                </c:pt>
                <c:pt idx="170">
                  <c:v>91</c:v>
                </c:pt>
                <c:pt idx="171">
                  <c:v>113</c:v>
                </c:pt>
                <c:pt idx="172">
                  <c:v>112</c:v>
                </c:pt>
                <c:pt idx="173">
                  <c:v>105</c:v>
                </c:pt>
                <c:pt idx="174">
                  <c:v>207</c:v>
                </c:pt>
                <c:pt idx="175">
                  <c:v>102</c:v>
                </c:pt>
                <c:pt idx="176">
                  <c:v>34</c:v>
                </c:pt>
                <c:pt idx="177">
                  <c:v>135</c:v>
                </c:pt>
                <c:pt idx="178">
                  <c:v>316</c:v>
                </c:pt>
                <c:pt idx="179">
                  <c:v>181</c:v>
                </c:pt>
                <c:pt idx="180">
                  <c:v>248</c:v>
                </c:pt>
                <c:pt idx="181">
                  <c:v>197</c:v>
                </c:pt>
                <c:pt idx="182">
                  <c:v>143</c:v>
                </c:pt>
                <c:pt idx="183">
                  <c:v>47</c:v>
                </c:pt>
                <c:pt idx="184">
                  <c:v>226</c:v>
                </c:pt>
                <c:pt idx="185">
                  <c:v>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56-48BE-B88E-F8A8C486AC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22</c:v>
                </c:pt>
                <c:pt idx="154">
                  <c:v>23</c:v>
                </c:pt>
                <c:pt idx="155">
                  <c:v>24</c:v>
                </c:pt>
                <c:pt idx="156">
                  <c:v>25</c:v>
                </c:pt>
                <c:pt idx="157">
                  <c:v>26</c:v>
                </c:pt>
                <c:pt idx="158">
                  <c:v>27</c:v>
                </c:pt>
                <c:pt idx="159">
                  <c:v>28</c:v>
                </c:pt>
                <c:pt idx="160">
                  <c:v>29</c:v>
                </c:pt>
                <c:pt idx="161">
                  <c:v>30</c:v>
                </c:pt>
                <c:pt idx="162">
                  <c:v>31</c:v>
                </c:pt>
                <c:pt idx="163">
                  <c:v>33</c:v>
                </c:pt>
                <c:pt idx="164">
                  <c:v>34</c:v>
                </c:pt>
                <c:pt idx="165">
                  <c:v>35</c:v>
                </c:pt>
                <c:pt idx="166">
                  <c:v>36</c:v>
                </c:pt>
                <c:pt idx="167">
                  <c:v>38</c:v>
                </c:pt>
                <c:pt idx="168">
                  <c:v>39</c:v>
                </c:pt>
                <c:pt idx="169">
                  <c:v>40</c:v>
                </c:pt>
                <c:pt idx="170">
                  <c:v>42</c:v>
                </c:pt>
                <c:pt idx="171">
                  <c:v>43</c:v>
                </c:pt>
                <c:pt idx="172">
                  <c:v>45</c:v>
                </c:pt>
                <c:pt idx="173">
                  <c:v>47</c:v>
                </c:pt>
                <c:pt idx="174">
                  <c:v>48</c:v>
                </c:pt>
                <c:pt idx="175">
                  <c:v>50</c:v>
                </c:pt>
                <c:pt idx="176">
                  <c:v>52</c:v>
                </c:pt>
                <c:pt idx="177">
                  <c:v>54</c:v>
                </c:pt>
                <c:pt idx="178">
                  <c:v>56</c:v>
                </c:pt>
                <c:pt idx="179">
                  <c:v>58</c:v>
                </c:pt>
                <c:pt idx="180">
                  <c:v>60</c:v>
                </c:pt>
                <c:pt idx="181">
                  <c:v>62</c:v>
                </c:pt>
                <c:pt idx="182">
                  <c:v>64</c:v>
                </c:pt>
                <c:pt idx="183">
                  <c:v>66</c:v>
                </c:pt>
                <c:pt idx="184">
                  <c:v>69</c:v>
                </c:pt>
                <c:pt idx="185">
                  <c:v>71</c:v>
                </c:pt>
                <c:pt idx="186">
                  <c:v>74</c:v>
                </c:pt>
                <c:pt idx="187">
                  <c:v>76</c:v>
                </c:pt>
                <c:pt idx="188">
                  <c:v>79</c:v>
                </c:pt>
                <c:pt idx="189">
                  <c:v>82</c:v>
                </c:pt>
                <c:pt idx="190">
                  <c:v>85</c:v>
                </c:pt>
                <c:pt idx="191">
                  <c:v>87</c:v>
                </c:pt>
                <c:pt idx="192">
                  <c:v>91</c:v>
                </c:pt>
                <c:pt idx="193">
                  <c:v>94</c:v>
                </c:pt>
                <c:pt idx="194">
                  <c:v>97</c:v>
                </c:pt>
                <c:pt idx="195">
                  <c:v>100</c:v>
                </c:pt>
                <c:pt idx="196">
                  <c:v>104</c:v>
                </c:pt>
                <c:pt idx="197">
                  <c:v>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E56-48BE-B88E-F8A8C486AC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23</c:v>
                </c:pt>
                <c:pt idx="154">
                  <c:v>25</c:v>
                </c:pt>
                <c:pt idx="155">
                  <c:v>26</c:v>
                </c:pt>
                <c:pt idx="156">
                  <c:v>27</c:v>
                </c:pt>
                <c:pt idx="157">
                  <c:v>28</c:v>
                </c:pt>
                <c:pt idx="158">
                  <c:v>30</c:v>
                </c:pt>
                <c:pt idx="159">
                  <c:v>32</c:v>
                </c:pt>
                <c:pt idx="160">
                  <c:v>33</c:v>
                </c:pt>
                <c:pt idx="161">
                  <c:v>35</c:v>
                </c:pt>
                <c:pt idx="162">
                  <c:v>37</c:v>
                </c:pt>
                <c:pt idx="163">
                  <c:v>39</c:v>
                </c:pt>
                <c:pt idx="164">
                  <c:v>41</c:v>
                </c:pt>
                <c:pt idx="165">
                  <c:v>43</c:v>
                </c:pt>
                <c:pt idx="166">
                  <c:v>45</c:v>
                </c:pt>
                <c:pt idx="167">
                  <c:v>47</c:v>
                </c:pt>
                <c:pt idx="168">
                  <c:v>50</c:v>
                </c:pt>
                <c:pt idx="169">
                  <c:v>52</c:v>
                </c:pt>
                <c:pt idx="170">
                  <c:v>55</c:v>
                </c:pt>
                <c:pt idx="171">
                  <c:v>58</c:v>
                </c:pt>
                <c:pt idx="172">
                  <c:v>61</c:v>
                </c:pt>
                <c:pt idx="173">
                  <c:v>64</c:v>
                </c:pt>
                <c:pt idx="174">
                  <c:v>67</c:v>
                </c:pt>
                <c:pt idx="175">
                  <c:v>71</c:v>
                </c:pt>
                <c:pt idx="176">
                  <c:v>74</c:v>
                </c:pt>
                <c:pt idx="177">
                  <c:v>78</c:v>
                </c:pt>
                <c:pt idx="178">
                  <c:v>82</c:v>
                </c:pt>
                <c:pt idx="179">
                  <c:v>86</c:v>
                </c:pt>
                <c:pt idx="180">
                  <c:v>90</c:v>
                </c:pt>
                <c:pt idx="181">
                  <c:v>95</c:v>
                </c:pt>
                <c:pt idx="182">
                  <c:v>100</c:v>
                </c:pt>
                <c:pt idx="183">
                  <c:v>104</c:v>
                </c:pt>
                <c:pt idx="184">
                  <c:v>110</c:v>
                </c:pt>
                <c:pt idx="185">
                  <c:v>115</c:v>
                </c:pt>
                <c:pt idx="186">
                  <c:v>121</c:v>
                </c:pt>
                <c:pt idx="187">
                  <c:v>127</c:v>
                </c:pt>
                <c:pt idx="188">
                  <c:v>133</c:v>
                </c:pt>
                <c:pt idx="189">
                  <c:v>140</c:v>
                </c:pt>
                <c:pt idx="190">
                  <c:v>147</c:v>
                </c:pt>
                <c:pt idx="191">
                  <c:v>154</c:v>
                </c:pt>
                <c:pt idx="192">
                  <c:v>162</c:v>
                </c:pt>
                <c:pt idx="193">
                  <c:v>170</c:v>
                </c:pt>
                <c:pt idx="194">
                  <c:v>178</c:v>
                </c:pt>
                <c:pt idx="195">
                  <c:v>187</c:v>
                </c:pt>
                <c:pt idx="196">
                  <c:v>197</c:v>
                </c:pt>
                <c:pt idx="197">
                  <c:v>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E56-48BE-B88E-F8A8C486AC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5</c:v>
                </c:pt>
                <c:pt idx="160">
                  <c:v>38</c:v>
                </c:pt>
                <c:pt idx="161">
                  <c:v>40</c:v>
                </c:pt>
                <c:pt idx="162">
                  <c:v>43</c:v>
                </c:pt>
                <c:pt idx="163">
                  <c:v>45</c:v>
                </c:pt>
                <c:pt idx="164">
                  <c:v>49</c:v>
                </c:pt>
                <c:pt idx="165">
                  <c:v>52</c:v>
                </c:pt>
                <c:pt idx="166">
                  <c:v>55</c:v>
                </c:pt>
                <c:pt idx="167">
                  <c:v>59</c:v>
                </c:pt>
                <c:pt idx="168">
                  <c:v>63</c:v>
                </c:pt>
                <c:pt idx="169">
                  <c:v>67</c:v>
                </c:pt>
                <c:pt idx="170">
                  <c:v>71</c:v>
                </c:pt>
                <c:pt idx="171">
                  <c:v>76</c:v>
                </c:pt>
                <c:pt idx="172">
                  <c:v>81</c:v>
                </c:pt>
                <c:pt idx="173">
                  <c:v>86</c:v>
                </c:pt>
                <c:pt idx="174">
                  <c:v>91</c:v>
                </c:pt>
                <c:pt idx="175">
                  <c:v>97</c:v>
                </c:pt>
                <c:pt idx="176">
                  <c:v>103</c:v>
                </c:pt>
                <c:pt idx="177">
                  <c:v>110</c:v>
                </c:pt>
                <c:pt idx="178">
                  <c:v>117</c:v>
                </c:pt>
                <c:pt idx="179">
                  <c:v>125</c:v>
                </c:pt>
                <c:pt idx="180">
                  <c:v>133</c:v>
                </c:pt>
                <c:pt idx="181">
                  <c:v>141</c:v>
                </c:pt>
                <c:pt idx="182">
                  <c:v>150</c:v>
                </c:pt>
                <c:pt idx="183">
                  <c:v>160</c:v>
                </c:pt>
                <c:pt idx="184">
                  <c:v>170</c:v>
                </c:pt>
                <c:pt idx="185">
                  <c:v>181</c:v>
                </c:pt>
                <c:pt idx="186">
                  <c:v>193</c:v>
                </c:pt>
                <c:pt idx="187">
                  <c:v>205</c:v>
                </c:pt>
                <c:pt idx="188">
                  <c:v>218</c:v>
                </c:pt>
                <c:pt idx="189">
                  <c:v>232</c:v>
                </c:pt>
                <c:pt idx="190">
                  <c:v>247</c:v>
                </c:pt>
                <c:pt idx="191">
                  <c:v>263</c:v>
                </c:pt>
                <c:pt idx="192">
                  <c:v>280</c:v>
                </c:pt>
                <c:pt idx="193">
                  <c:v>298</c:v>
                </c:pt>
                <c:pt idx="194">
                  <c:v>317</c:v>
                </c:pt>
                <c:pt idx="195">
                  <c:v>337</c:v>
                </c:pt>
                <c:pt idx="196">
                  <c:v>358</c:v>
                </c:pt>
                <c:pt idx="197">
                  <c:v>3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56-48BE-B88E-F8A8C486AC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24</c:v>
                </c:pt>
                <c:pt idx="154">
                  <c:v>26</c:v>
                </c:pt>
                <c:pt idx="155">
                  <c:v>28</c:v>
                </c:pt>
                <c:pt idx="156">
                  <c:v>29</c:v>
                </c:pt>
                <c:pt idx="157">
                  <c:v>31</c:v>
                </c:pt>
                <c:pt idx="158">
                  <c:v>33</c:v>
                </c:pt>
                <c:pt idx="159">
                  <c:v>35</c:v>
                </c:pt>
                <c:pt idx="160">
                  <c:v>38</c:v>
                </c:pt>
                <c:pt idx="161">
                  <c:v>40</c:v>
                </c:pt>
                <c:pt idx="162">
                  <c:v>43</c:v>
                </c:pt>
                <c:pt idx="163">
                  <c:v>45</c:v>
                </c:pt>
                <c:pt idx="164">
                  <c:v>52</c:v>
                </c:pt>
                <c:pt idx="165">
                  <c:v>57</c:v>
                </c:pt>
                <c:pt idx="166">
                  <c:v>62</c:v>
                </c:pt>
                <c:pt idx="167">
                  <c:v>66</c:v>
                </c:pt>
                <c:pt idx="168">
                  <c:v>72</c:v>
                </c:pt>
                <c:pt idx="169">
                  <c:v>79</c:v>
                </c:pt>
                <c:pt idx="170">
                  <c:v>87</c:v>
                </c:pt>
                <c:pt idx="171">
                  <c:v>95</c:v>
                </c:pt>
                <c:pt idx="172">
                  <c:v>104</c:v>
                </c:pt>
                <c:pt idx="173">
                  <c:v>112</c:v>
                </c:pt>
                <c:pt idx="174">
                  <c:v>122</c:v>
                </c:pt>
                <c:pt idx="175">
                  <c:v>134</c:v>
                </c:pt>
                <c:pt idx="176">
                  <c:v>147</c:v>
                </c:pt>
                <c:pt idx="177">
                  <c:v>160</c:v>
                </c:pt>
                <c:pt idx="178">
                  <c:v>174</c:v>
                </c:pt>
                <c:pt idx="179">
                  <c:v>190</c:v>
                </c:pt>
                <c:pt idx="180">
                  <c:v>207</c:v>
                </c:pt>
                <c:pt idx="181">
                  <c:v>226</c:v>
                </c:pt>
                <c:pt idx="182">
                  <c:v>247</c:v>
                </c:pt>
                <c:pt idx="183">
                  <c:v>269</c:v>
                </c:pt>
                <c:pt idx="184">
                  <c:v>293</c:v>
                </c:pt>
                <c:pt idx="185">
                  <c:v>300</c:v>
                </c:pt>
                <c:pt idx="186">
                  <c:v>317</c:v>
                </c:pt>
                <c:pt idx="187">
                  <c:v>339</c:v>
                </c:pt>
                <c:pt idx="188">
                  <c:v>366</c:v>
                </c:pt>
                <c:pt idx="189">
                  <c:v>391</c:v>
                </c:pt>
                <c:pt idx="190">
                  <c:v>414</c:v>
                </c:pt>
                <c:pt idx="191">
                  <c:v>439</c:v>
                </c:pt>
                <c:pt idx="192">
                  <c:v>464</c:v>
                </c:pt>
                <c:pt idx="193">
                  <c:v>495</c:v>
                </c:pt>
                <c:pt idx="194">
                  <c:v>530</c:v>
                </c:pt>
                <c:pt idx="195">
                  <c:v>564</c:v>
                </c:pt>
                <c:pt idx="196">
                  <c:v>598</c:v>
                </c:pt>
                <c:pt idx="197">
                  <c:v>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E56-48BE-B88E-F8A8C486A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6E-4170-BCEC-F1AE53DCC9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9.871160966253449</c:v>
                </c:pt>
                <c:pt idx="1">
                  <c:v>22.599891520520703</c:v>
                </c:pt>
                <c:pt idx="2">
                  <c:v>18.865996399739021</c:v>
                </c:pt>
                <c:pt idx="3">
                  <c:v>16.311226053941027</c:v>
                </c:pt>
                <c:pt idx="4">
                  <c:v>15.52514287061857</c:v>
                </c:pt>
                <c:pt idx="5">
                  <c:v>15.132101278957338</c:v>
                </c:pt>
                <c:pt idx="6">
                  <c:v>14.149497299804267</c:v>
                </c:pt>
                <c:pt idx="7">
                  <c:v>15.721663666449183</c:v>
                </c:pt>
                <c:pt idx="8">
                  <c:v>15.132101278957338</c:v>
                </c:pt>
                <c:pt idx="9">
                  <c:v>15.132101278957338</c:v>
                </c:pt>
                <c:pt idx="10">
                  <c:v>14.346018095634879</c:v>
                </c:pt>
                <c:pt idx="11">
                  <c:v>14.149497299804267</c:v>
                </c:pt>
                <c:pt idx="12">
                  <c:v>13.95297650397365</c:v>
                </c:pt>
                <c:pt idx="13">
                  <c:v>12.184289341498117</c:v>
                </c:pt>
                <c:pt idx="14">
                  <c:v>10.022560587361355</c:v>
                </c:pt>
                <c:pt idx="15">
                  <c:v>9.6295189957001242</c:v>
                </c:pt>
                <c:pt idx="16">
                  <c:v>7.4677902415633621</c:v>
                </c:pt>
                <c:pt idx="17">
                  <c:v>6.0921446707490583</c:v>
                </c:pt>
                <c:pt idx="18">
                  <c:v>7.4677902415633621</c:v>
                </c:pt>
                <c:pt idx="19">
                  <c:v>7.6643110373939773</c:v>
                </c:pt>
                <c:pt idx="20">
                  <c:v>6.4851862624102878</c:v>
                </c:pt>
                <c:pt idx="21">
                  <c:v>5.3060614874265992</c:v>
                </c:pt>
                <c:pt idx="22">
                  <c:v>4.1269367124429106</c:v>
                </c:pt>
                <c:pt idx="23">
                  <c:v>3.5373743249510667</c:v>
                </c:pt>
                <c:pt idx="24">
                  <c:v>3.5373743249510667</c:v>
                </c:pt>
                <c:pt idx="25">
                  <c:v>2.1617287541367629</c:v>
                </c:pt>
                <c:pt idx="26">
                  <c:v>1.9652079583061479</c:v>
                </c:pt>
                <c:pt idx="27">
                  <c:v>2.1617287541367629</c:v>
                </c:pt>
                <c:pt idx="28">
                  <c:v>2.1617287541367629</c:v>
                </c:pt>
                <c:pt idx="29">
                  <c:v>2.1617287541367629</c:v>
                </c:pt>
                <c:pt idx="30">
                  <c:v>2.7512911416286072</c:v>
                </c:pt>
                <c:pt idx="31">
                  <c:v>2.947811937459222</c:v>
                </c:pt>
                <c:pt idx="32">
                  <c:v>3.3408535291204511</c:v>
                </c:pt>
                <c:pt idx="33">
                  <c:v>3.7338951207816811</c:v>
                </c:pt>
                <c:pt idx="34">
                  <c:v>3.5373743249510667</c:v>
                </c:pt>
                <c:pt idx="35">
                  <c:v>3.1443327332898368</c:v>
                </c:pt>
                <c:pt idx="36">
                  <c:v>6.8782278540715183</c:v>
                </c:pt>
                <c:pt idx="37">
                  <c:v>9.2364774040388955</c:v>
                </c:pt>
                <c:pt idx="38">
                  <c:v>10.21908138319197</c:v>
                </c:pt>
                <c:pt idx="39">
                  <c:v>11.398206158175659</c:v>
                </c:pt>
                <c:pt idx="40">
                  <c:v>11.005164566514429</c:v>
                </c:pt>
                <c:pt idx="41">
                  <c:v>12.380810137328734</c:v>
                </c:pt>
                <c:pt idx="42">
                  <c:v>14.149497299804267</c:v>
                </c:pt>
                <c:pt idx="43">
                  <c:v>12.970372524820576</c:v>
                </c:pt>
                <c:pt idx="44">
                  <c:v>10.612122974853198</c:v>
                </c:pt>
                <c:pt idx="45">
                  <c:v>9.8260397915307394</c:v>
                </c:pt>
                <c:pt idx="46">
                  <c:v>9.2364774040388955</c:v>
                </c:pt>
                <c:pt idx="47">
                  <c:v>9.2364774040388955</c:v>
                </c:pt>
                <c:pt idx="48">
                  <c:v>7.6643110373939773</c:v>
                </c:pt>
                <c:pt idx="49">
                  <c:v>7.6643110373939773</c:v>
                </c:pt>
                <c:pt idx="50">
                  <c:v>6.6817070582409022</c:v>
                </c:pt>
                <c:pt idx="51">
                  <c:v>6.6817070582409022</c:v>
                </c:pt>
                <c:pt idx="52">
                  <c:v>6.8782278540715183</c:v>
                </c:pt>
                <c:pt idx="53">
                  <c:v>6.0921446707490583</c:v>
                </c:pt>
                <c:pt idx="54">
                  <c:v>6.2886654665796735</c:v>
                </c:pt>
                <c:pt idx="55">
                  <c:v>6.8782278540715183</c:v>
                </c:pt>
                <c:pt idx="56">
                  <c:v>7.4677902415633621</c:v>
                </c:pt>
                <c:pt idx="57">
                  <c:v>6.6817070582409022</c:v>
                </c:pt>
                <c:pt idx="58">
                  <c:v>7.0747486499021335</c:v>
                </c:pt>
                <c:pt idx="59">
                  <c:v>7.0747486499021335</c:v>
                </c:pt>
                <c:pt idx="60">
                  <c:v>8.057352629055206</c:v>
                </c:pt>
                <c:pt idx="61">
                  <c:v>8.8434358123776668</c:v>
                </c:pt>
                <c:pt idx="62">
                  <c:v>9.0399566082082803</c:v>
                </c:pt>
                <c:pt idx="63">
                  <c:v>8.6469150165470516</c:v>
                </c:pt>
                <c:pt idx="64">
                  <c:v>10.415602179022585</c:v>
                </c:pt>
                <c:pt idx="65">
                  <c:v>11.201685362345042</c:v>
                </c:pt>
                <c:pt idx="66">
                  <c:v>11.791247749836888</c:v>
                </c:pt>
                <c:pt idx="67">
                  <c:v>12.184289341498117</c:v>
                </c:pt>
                <c:pt idx="68">
                  <c:v>11.398206158175659</c:v>
                </c:pt>
                <c:pt idx="69">
                  <c:v>12.577330933159347</c:v>
                </c:pt>
                <c:pt idx="70">
                  <c:v>13.95297650397365</c:v>
                </c:pt>
                <c:pt idx="71">
                  <c:v>13.363414116481804</c:v>
                </c:pt>
                <c:pt idx="72">
                  <c:v>12.970372524820576</c:v>
                </c:pt>
                <c:pt idx="73">
                  <c:v>12.380810137328734</c:v>
                </c:pt>
                <c:pt idx="74">
                  <c:v>11.201685362345042</c:v>
                </c:pt>
                <c:pt idx="75">
                  <c:v>11.398206158175659</c:v>
                </c:pt>
                <c:pt idx="76">
                  <c:v>11.987768545667503</c:v>
                </c:pt>
                <c:pt idx="77">
                  <c:v>11.201685362345042</c:v>
                </c:pt>
                <c:pt idx="78">
                  <c:v>11.005164566514429</c:v>
                </c:pt>
                <c:pt idx="79">
                  <c:v>10.415602179022585</c:v>
                </c:pt>
                <c:pt idx="80">
                  <c:v>9.8260397915307394</c:v>
                </c:pt>
                <c:pt idx="81">
                  <c:v>10.415602179022585</c:v>
                </c:pt>
                <c:pt idx="82">
                  <c:v>10.022560587361355</c:v>
                </c:pt>
                <c:pt idx="83">
                  <c:v>8.057352629055206</c:v>
                </c:pt>
                <c:pt idx="84">
                  <c:v>6.8782278540715183</c:v>
                </c:pt>
                <c:pt idx="85">
                  <c:v>8.8434358123776668</c:v>
                </c:pt>
                <c:pt idx="86">
                  <c:v>9.6295189957001242</c:v>
                </c:pt>
                <c:pt idx="87">
                  <c:v>10.415602179022585</c:v>
                </c:pt>
                <c:pt idx="88">
                  <c:v>9.6295189957001242</c:v>
                </c:pt>
                <c:pt idx="89">
                  <c:v>10.022560587361355</c:v>
                </c:pt>
                <c:pt idx="90">
                  <c:v>9.8260397915307394</c:v>
                </c:pt>
                <c:pt idx="91">
                  <c:v>11.005164566514429</c:v>
                </c:pt>
                <c:pt idx="92">
                  <c:v>9.8260397915307394</c:v>
                </c:pt>
                <c:pt idx="93">
                  <c:v>10.022560587361355</c:v>
                </c:pt>
                <c:pt idx="94">
                  <c:v>11.791247749836888</c:v>
                </c:pt>
                <c:pt idx="95">
                  <c:v>12.184289341498117</c:v>
                </c:pt>
                <c:pt idx="96">
                  <c:v>12.577330933159347</c:v>
                </c:pt>
                <c:pt idx="97">
                  <c:v>15.132101278957338</c:v>
                </c:pt>
                <c:pt idx="98">
                  <c:v>14.542538891465496</c:v>
                </c:pt>
                <c:pt idx="99">
                  <c:v>18.276434012247176</c:v>
                </c:pt>
                <c:pt idx="100">
                  <c:v>18.669475603908406</c:v>
                </c:pt>
                <c:pt idx="101">
                  <c:v>20.43816276638394</c:v>
                </c:pt>
                <c:pt idx="102">
                  <c:v>21.420766745537016</c:v>
                </c:pt>
                <c:pt idx="103">
                  <c:v>21.027725153875782</c:v>
                </c:pt>
                <c:pt idx="104">
                  <c:v>21.617287541367627</c:v>
                </c:pt>
                <c:pt idx="105">
                  <c:v>21.420766745537016</c:v>
                </c:pt>
                <c:pt idx="106">
                  <c:v>17.293830033094103</c:v>
                </c:pt>
                <c:pt idx="107">
                  <c:v>17.490350828924715</c:v>
                </c:pt>
                <c:pt idx="108">
                  <c:v>16.114705258110412</c:v>
                </c:pt>
                <c:pt idx="109">
                  <c:v>15.918184462279799</c:v>
                </c:pt>
                <c:pt idx="110">
                  <c:v>16.114705258110412</c:v>
                </c:pt>
                <c:pt idx="111">
                  <c:v>13.95297650397365</c:v>
                </c:pt>
                <c:pt idx="112">
                  <c:v>16.114705258110412</c:v>
                </c:pt>
                <c:pt idx="113">
                  <c:v>17.097309237263488</c:v>
                </c:pt>
                <c:pt idx="114">
                  <c:v>16.311226053941027</c:v>
                </c:pt>
                <c:pt idx="115">
                  <c:v>16.311226053941027</c:v>
                </c:pt>
                <c:pt idx="116">
                  <c:v>18.276434012247176</c:v>
                </c:pt>
                <c:pt idx="117">
                  <c:v>19.455558787230864</c:v>
                </c:pt>
                <c:pt idx="118">
                  <c:v>21.813808337198243</c:v>
                </c:pt>
                <c:pt idx="119">
                  <c:v>20.045121174722709</c:v>
                </c:pt>
                <c:pt idx="120">
                  <c:v>19.455558787230864</c:v>
                </c:pt>
                <c:pt idx="121">
                  <c:v>22.010329133028858</c:v>
                </c:pt>
                <c:pt idx="122">
                  <c:v>23.975537091335006</c:v>
                </c:pt>
                <c:pt idx="123">
                  <c:v>22.99293311218193</c:v>
                </c:pt>
                <c:pt idx="124">
                  <c:v>22.599891520520703</c:v>
                </c:pt>
                <c:pt idx="125">
                  <c:v>23.779016295504391</c:v>
                </c:pt>
                <c:pt idx="126">
                  <c:v>27.316390620455458</c:v>
                </c:pt>
                <c:pt idx="127">
                  <c:v>32.032889720390216</c:v>
                </c:pt>
                <c:pt idx="128">
                  <c:v>34.194618474526976</c:v>
                </c:pt>
                <c:pt idx="129">
                  <c:v>34.784180862018815</c:v>
                </c:pt>
                <c:pt idx="130">
                  <c:v>34.391139270357591</c:v>
                </c:pt>
                <c:pt idx="131">
                  <c:v>33.801576882865746</c:v>
                </c:pt>
                <c:pt idx="132">
                  <c:v>34.98070165784943</c:v>
                </c:pt>
                <c:pt idx="133">
                  <c:v>35.766784841171891</c:v>
                </c:pt>
                <c:pt idx="134">
                  <c:v>38.714596778631112</c:v>
                </c:pt>
                <c:pt idx="135">
                  <c:v>40.483283941106649</c:v>
                </c:pt>
                <c:pt idx="136">
                  <c:v>56.401468403386446</c:v>
                </c:pt>
                <c:pt idx="137">
                  <c:v>60.331884319998743</c:v>
                </c:pt>
                <c:pt idx="138">
                  <c:v>61.904050686643657</c:v>
                </c:pt>
                <c:pt idx="139">
                  <c:v>73.498777640649934</c:v>
                </c:pt>
                <c:pt idx="140">
                  <c:v>88.630878919607269</c:v>
                </c:pt>
                <c:pt idx="141">
                  <c:v>100.42212666944415</c:v>
                </c:pt>
                <c:pt idx="142">
                  <c:v>112.99945760260351</c:v>
                </c:pt>
                <c:pt idx="143">
                  <c:v>131.66893320651192</c:v>
                </c:pt>
                <c:pt idx="144">
                  <c:v>145.81843050631616</c:v>
                </c:pt>
                <c:pt idx="145">
                  <c:v>150.14188801458968</c:v>
                </c:pt>
                <c:pt idx="146">
                  <c:v>158.78880303113675</c:v>
                </c:pt>
                <c:pt idx="147">
                  <c:v>198.68252458475158</c:v>
                </c:pt>
                <c:pt idx="148">
                  <c:v>212.242459497064</c:v>
                </c:pt>
                <c:pt idx="149">
                  <c:v>240.34493330084189</c:v>
                </c:pt>
                <c:pt idx="150">
                  <c:v>238.37972534253575</c:v>
                </c:pt>
                <c:pt idx="151">
                  <c:v>246.43707797159095</c:v>
                </c:pt>
                <c:pt idx="152">
                  <c:v>248.99184831738896</c:v>
                </c:pt>
                <c:pt idx="153">
                  <c:v>266.87524073797488</c:v>
                </c:pt>
                <c:pt idx="154">
                  <c:v>276.50475973367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6E-4170-BCEC-F1AE53DCC9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22.206849928859473</c:v>
                </c:pt>
                <c:pt idx="123">
                  <c:v>23.189453908012545</c:v>
                </c:pt>
                <c:pt idx="124">
                  <c:v>23.975537091335006</c:v>
                </c:pt>
                <c:pt idx="125">
                  <c:v>24.761620274657467</c:v>
                </c:pt>
                <c:pt idx="126">
                  <c:v>25.744224253810536</c:v>
                </c:pt>
                <c:pt idx="127">
                  <c:v>26.726828232963609</c:v>
                </c:pt>
                <c:pt idx="128">
                  <c:v>27.9059530079473</c:v>
                </c:pt>
                <c:pt idx="129">
                  <c:v>28.888556987100376</c:v>
                </c:pt>
                <c:pt idx="130">
                  <c:v>29.871160966253449</c:v>
                </c:pt>
                <c:pt idx="131">
                  <c:v>31.05028574123714</c:v>
                </c:pt>
                <c:pt idx="132">
                  <c:v>32.229410516220824</c:v>
                </c:pt>
                <c:pt idx="133">
                  <c:v>33.408535291204515</c:v>
                </c:pt>
                <c:pt idx="134">
                  <c:v>34.587660066188207</c:v>
                </c:pt>
                <c:pt idx="135">
                  <c:v>35.766784841171891</c:v>
                </c:pt>
                <c:pt idx="136">
                  <c:v>37.142430411986197</c:v>
                </c:pt>
                <c:pt idx="137">
                  <c:v>38.518075982800497</c:v>
                </c:pt>
                <c:pt idx="138">
                  <c:v>39.893721553614803</c:v>
                </c:pt>
                <c:pt idx="139">
                  <c:v>41.465887920259725</c:v>
                </c:pt>
                <c:pt idx="140">
                  <c:v>43.038054286904639</c:v>
                </c:pt>
                <c:pt idx="141">
                  <c:v>44.610220653549561</c:v>
                </c:pt>
                <c:pt idx="142">
                  <c:v>46.182387020194476</c:v>
                </c:pt>
                <c:pt idx="143">
                  <c:v>47.951074182670013</c:v>
                </c:pt>
                <c:pt idx="144">
                  <c:v>49.719761345145542</c:v>
                </c:pt>
                <c:pt idx="145">
                  <c:v>51.684969303451695</c:v>
                </c:pt>
                <c:pt idx="146">
                  <c:v>53.453656465927217</c:v>
                </c:pt>
                <c:pt idx="147">
                  <c:v>55.418864424233369</c:v>
                </c:pt>
                <c:pt idx="148">
                  <c:v>57.384072382539514</c:v>
                </c:pt>
                <c:pt idx="149">
                  <c:v>59.545801136676289</c:v>
                </c:pt>
                <c:pt idx="150">
                  <c:v>61.707529890813049</c:v>
                </c:pt>
                <c:pt idx="151">
                  <c:v>63.869258644949809</c:v>
                </c:pt>
                <c:pt idx="152">
                  <c:v>66.03098739908657</c:v>
                </c:pt>
                <c:pt idx="153">
                  <c:v>68.389236949053952</c:v>
                </c:pt>
                <c:pt idx="154">
                  <c:v>70.747486499021335</c:v>
                </c:pt>
                <c:pt idx="155">
                  <c:v>73.302256844819325</c:v>
                </c:pt>
                <c:pt idx="156">
                  <c:v>75.857027190617316</c:v>
                </c:pt>
                <c:pt idx="157">
                  <c:v>78.411797536415307</c:v>
                </c:pt>
                <c:pt idx="158">
                  <c:v>81.16308867804392</c:v>
                </c:pt>
                <c:pt idx="159">
                  <c:v>84.110900615503127</c:v>
                </c:pt>
                <c:pt idx="160">
                  <c:v>87.058712552962348</c:v>
                </c:pt>
                <c:pt idx="161">
                  <c:v>90.203045286252191</c:v>
                </c:pt>
                <c:pt idx="162">
                  <c:v>93.347378019542035</c:v>
                </c:pt>
                <c:pt idx="163">
                  <c:v>96.688231548662472</c:v>
                </c:pt>
                <c:pt idx="164">
                  <c:v>100.02908507778292</c:v>
                </c:pt>
                <c:pt idx="165">
                  <c:v>103.56645940273401</c:v>
                </c:pt>
                <c:pt idx="166">
                  <c:v>107.10383372768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6E-4170-BCEC-F1AE53DCC9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22.403370724690085</c:v>
                </c:pt>
                <c:pt idx="123">
                  <c:v>23.582495499673776</c:v>
                </c:pt>
                <c:pt idx="124">
                  <c:v>24.761620274657467</c:v>
                </c:pt>
                <c:pt idx="125">
                  <c:v>25.940745049641151</c:v>
                </c:pt>
                <c:pt idx="126">
                  <c:v>27.316390620455458</c:v>
                </c:pt>
                <c:pt idx="127">
                  <c:v>28.692036191269757</c:v>
                </c:pt>
                <c:pt idx="128">
                  <c:v>30.264202557914675</c:v>
                </c:pt>
                <c:pt idx="129">
                  <c:v>31.836368924559597</c:v>
                </c:pt>
                <c:pt idx="130">
                  <c:v>33.408535291204515</c:v>
                </c:pt>
                <c:pt idx="131">
                  <c:v>35.177222453680045</c:v>
                </c:pt>
                <c:pt idx="132">
                  <c:v>36.945909616155582</c:v>
                </c:pt>
                <c:pt idx="133">
                  <c:v>38.911117574461727</c:v>
                </c:pt>
                <c:pt idx="134">
                  <c:v>40.876325532767879</c:v>
                </c:pt>
                <c:pt idx="135">
                  <c:v>43.038054286904639</c:v>
                </c:pt>
                <c:pt idx="136">
                  <c:v>45.199783041041407</c:v>
                </c:pt>
                <c:pt idx="137">
                  <c:v>47.558032591008782</c:v>
                </c:pt>
                <c:pt idx="138">
                  <c:v>49.916282140976151</c:v>
                </c:pt>
                <c:pt idx="139">
                  <c:v>52.471052486774148</c:v>
                </c:pt>
                <c:pt idx="140">
                  <c:v>55.025822832572146</c:v>
                </c:pt>
                <c:pt idx="141">
                  <c:v>57.97363477003136</c:v>
                </c:pt>
                <c:pt idx="142">
                  <c:v>60.921446707490581</c:v>
                </c:pt>
                <c:pt idx="143">
                  <c:v>64.065779440780432</c:v>
                </c:pt>
                <c:pt idx="144">
                  <c:v>67.406632969900869</c:v>
                </c:pt>
                <c:pt idx="145">
                  <c:v>70.747486499021335</c:v>
                </c:pt>
                <c:pt idx="146">
                  <c:v>74.284860823972394</c:v>
                </c:pt>
                <c:pt idx="147">
                  <c:v>78.215276740584699</c:v>
                </c:pt>
                <c:pt idx="148">
                  <c:v>82.145692657196989</c:v>
                </c:pt>
                <c:pt idx="149">
                  <c:v>86.272629369639901</c:v>
                </c:pt>
                <c:pt idx="150">
                  <c:v>90.596086877913422</c:v>
                </c:pt>
                <c:pt idx="151">
                  <c:v>95.116065182017564</c:v>
                </c:pt>
                <c:pt idx="152">
                  <c:v>100.02908507778292</c:v>
                </c:pt>
                <c:pt idx="153">
                  <c:v>105.13862576937892</c:v>
                </c:pt>
                <c:pt idx="154">
                  <c:v>110.2481664609749</c:v>
                </c:pt>
                <c:pt idx="155">
                  <c:v>115.75074874423213</c:v>
                </c:pt>
                <c:pt idx="156">
                  <c:v>121.64637261915057</c:v>
                </c:pt>
                <c:pt idx="157">
                  <c:v>127.73851728989962</c:v>
                </c:pt>
                <c:pt idx="158">
                  <c:v>134.02718275647928</c:v>
                </c:pt>
                <c:pt idx="159">
                  <c:v>140.70888981472018</c:v>
                </c:pt>
                <c:pt idx="160">
                  <c:v>147.78363846462233</c:v>
                </c:pt>
                <c:pt idx="161">
                  <c:v>155.25142870618569</c:v>
                </c:pt>
                <c:pt idx="162">
                  <c:v>162.91573974357968</c:v>
                </c:pt>
                <c:pt idx="163">
                  <c:v>170.97309237263488</c:v>
                </c:pt>
                <c:pt idx="164">
                  <c:v>179.4234865933513</c:v>
                </c:pt>
                <c:pt idx="165">
                  <c:v>188.46344320155958</c:v>
                </c:pt>
                <c:pt idx="166">
                  <c:v>197.69992060559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6E-4170-BCEC-F1AE53DCC9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22.403370724690085</c:v>
                </c:pt>
                <c:pt idx="123">
                  <c:v>23.779016295504391</c:v>
                </c:pt>
                <c:pt idx="124">
                  <c:v>25.154661866318694</c:v>
                </c:pt>
                <c:pt idx="125">
                  <c:v>26.530307437133001</c:v>
                </c:pt>
                <c:pt idx="126">
                  <c:v>28.298994599608534</c:v>
                </c:pt>
                <c:pt idx="127">
                  <c:v>30.067681762084064</c:v>
                </c:pt>
                <c:pt idx="128">
                  <c:v>32.229410516220824</c:v>
                </c:pt>
                <c:pt idx="129">
                  <c:v>34.391139270357591</c:v>
                </c:pt>
                <c:pt idx="130">
                  <c:v>36.552868024494352</c:v>
                </c:pt>
                <c:pt idx="131">
                  <c:v>38.911117574461727</c:v>
                </c:pt>
                <c:pt idx="132">
                  <c:v>41.465887920259725</c:v>
                </c:pt>
                <c:pt idx="133">
                  <c:v>44.217179061888331</c:v>
                </c:pt>
                <c:pt idx="134">
                  <c:v>47.361511795178167</c:v>
                </c:pt>
                <c:pt idx="135">
                  <c:v>50.50584452846801</c:v>
                </c:pt>
                <c:pt idx="136">
                  <c:v>53.846698057588455</c:v>
                </c:pt>
                <c:pt idx="137">
                  <c:v>57.384072382539514</c:v>
                </c:pt>
                <c:pt idx="138">
                  <c:v>61.117967503321204</c:v>
                </c:pt>
                <c:pt idx="139">
                  <c:v>65.244904215764109</c:v>
                </c:pt>
                <c:pt idx="140">
                  <c:v>69.568361724037629</c:v>
                </c:pt>
                <c:pt idx="141">
                  <c:v>74.088340028141772</c:v>
                </c:pt>
                <c:pt idx="142">
                  <c:v>79.001359923907145</c:v>
                </c:pt>
                <c:pt idx="143">
                  <c:v>84.110900615503127</c:v>
                </c:pt>
                <c:pt idx="144">
                  <c:v>89.613482898760338</c:v>
                </c:pt>
                <c:pt idx="145">
                  <c:v>95.509106773678795</c:v>
                </c:pt>
                <c:pt idx="146">
                  <c:v>101.60125144442786</c:v>
                </c:pt>
                <c:pt idx="147">
                  <c:v>108.08643770683814</c:v>
                </c:pt>
                <c:pt idx="148">
                  <c:v>114.96466556090965</c:v>
                </c:pt>
                <c:pt idx="149">
                  <c:v>122.23593500664241</c:v>
                </c:pt>
                <c:pt idx="150">
                  <c:v>130.09676683986697</c:v>
                </c:pt>
                <c:pt idx="151">
                  <c:v>138.54716106058342</c:v>
                </c:pt>
                <c:pt idx="152">
                  <c:v>147.39059687296111</c:v>
                </c:pt>
                <c:pt idx="153">
                  <c:v>157.02011586866124</c:v>
                </c:pt>
                <c:pt idx="154">
                  <c:v>167.04267645602258</c:v>
                </c:pt>
                <c:pt idx="155">
                  <c:v>177.85132022670641</c:v>
                </c:pt>
                <c:pt idx="156">
                  <c:v>189.24952638488205</c:v>
                </c:pt>
                <c:pt idx="157">
                  <c:v>201.43381572638015</c:v>
                </c:pt>
                <c:pt idx="158">
                  <c:v>214.20766745537011</c:v>
                </c:pt>
                <c:pt idx="159">
                  <c:v>227.96412316351314</c:v>
                </c:pt>
                <c:pt idx="160">
                  <c:v>242.50666205497865</c:v>
                </c:pt>
                <c:pt idx="161">
                  <c:v>258.03180492559721</c:v>
                </c:pt>
                <c:pt idx="162">
                  <c:v>274.53955177536886</c:v>
                </c:pt>
                <c:pt idx="163">
                  <c:v>292.22642340012419</c:v>
                </c:pt>
                <c:pt idx="164">
                  <c:v>310.89589900403257</c:v>
                </c:pt>
                <c:pt idx="165">
                  <c:v>330.74449938292469</c:v>
                </c:pt>
                <c:pt idx="166">
                  <c:v>351.9687453326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A6E-4170-BCEC-F1AE53DCC9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22.403370724690085</c:v>
                </c:pt>
                <c:pt idx="123">
                  <c:v>23.779016295504391</c:v>
                </c:pt>
                <c:pt idx="124">
                  <c:v>25.154661866318694</c:v>
                </c:pt>
                <c:pt idx="125">
                  <c:v>26.530307437133001</c:v>
                </c:pt>
                <c:pt idx="126">
                  <c:v>28.298994599608534</c:v>
                </c:pt>
                <c:pt idx="127">
                  <c:v>30.067681762084064</c:v>
                </c:pt>
                <c:pt idx="128">
                  <c:v>32.229410516220824</c:v>
                </c:pt>
                <c:pt idx="129">
                  <c:v>34.391139270357591</c:v>
                </c:pt>
                <c:pt idx="130">
                  <c:v>36.552868024494352</c:v>
                </c:pt>
                <c:pt idx="131">
                  <c:v>38.911117574461727</c:v>
                </c:pt>
                <c:pt idx="132">
                  <c:v>41.465887920259725</c:v>
                </c:pt>
                <c:pt idx="133">
                  <c:v>44.610220653549561</c:v>
                </c:pt>
                <c:pt idx="134">
                  <c:v>48.540636570161851</c:v>
                </c:pt>
                <c:pt idx="135">
                  <c:v>52.864094078435379</c:v>
                </c:pt>
                <c:pt idx="136">
                  <c:v>57.384072382539514</c:v>
                </c:pt>
                <c:pt idx="137">
                  <c:v>62.493613074135503</c:v>
                </c:pt>
                <c:pt idx="138">
                  <c:v>68.19271615322333</c:v>
                </c:pt>
                <c:pt idx="139">
                  <c:v>74.874423211464233</c:v>
                </c:pt>
                <c:pt idx="140">
                  <c:v>81.752651065535758</c:v>
                </c:pt>
                <c:pt idx="141">
                  <c:v>89.0239205112685</c:v>
                </c:pt>
                <c:pt idx="142">
                  <c:v>96.884752344493094</c:v>
                </c:pt>
                <c:pt idx="143">
                  <c:v>105.72818815687076</c:v>
                </c:pt>
                <c:pt idx="144">
                  <c:v>115.35770715257088</c:v>
                </c:pt>
                <c:pt idx="145">
                  <c:v>126.16635092325471</c:v>
                </c:pt>
                <c:pt idx="146">
                  <c:v>137.56455708143037</c:v>
                </c:pt>
                <c:pt idx="147">
                  <c:v>150.14188801458968</c:v>
                </c:pt>
                <c:pt idx="148">
                  <c:v>163.70182292690211</c:v>
                </c:pt>
                <c:pt idx="149">
                  <c:v>178.63740341002884</c:v>
                </c:pt>
                <c:pt idx="150">
                  <c:v>194.94862946396987</c:v>
                </c:pt>
                <c:pt idx="151">
                  <c:v>212.83202188455584</c:v>
                </c:pt>
                <c:pt idx="152">
                  <c:v>231.89453908012544</c:v>
                </c:pt>
                <c:pt idx="153">
                  <c:v>252.92226423400126</c:v>
                </c:pt>
                <c:pt idx="154">
                  <c:v>272.77086461289332</c:v>
                </c:pt>
                <c:pt idx="155">
                  <c:v>292.81598578761606</c:v>
                </c:pt>
                <c:pt idx="156">
                  <c:v>313.64719014566123</c:v>
                </c:pt>
                <c:pt idx="157">
                  <c:v>335.8540400745207</c:v>
                </c:pt>
                <c:pt idx="158">
                  <c:v>358.45393159504135</c:v>
                </c:pt>
                <c:pt idx="159">
                  <c:v>381.44686470722331</c:v>
                </c:pt>
                <c:pt idx="160">
                  <c:v>404.43979781940527</c:v>
                </c:pt>
                <c:pt idx="161">
                  <c:v>430.18402207321577</c:v>
                </c:pt>
                <c:pt idx="162">
                  <c:v>458.28649587699374</c:v>
                </c:pt>
                <c:pt idx="163">
                  <c:v>488.35417763907782</c:v>
                </c:pt>
                <c:pt idx="164">
                  <c:v>519.40446338031495</c:v>
                </c:pt>
                <c:pt idx="165">
                  <c:v>552.22343628402757</c:v>
                </c:pt>
                <c:pt idx="166">
                  <c:v>587.00761714604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A6E-4170-BCEC-F1AE53DCC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21</c:v>
                </c:pt>
                <c:pt idx="1">
                  <c:v>67</c:v>
                </c:pt>
                <c:pt idx="2">
                  <c:v>209</c:v>
                </c:pt>
                <c:pt idx="3">
                  <c:v>304</c:v>
                </c:pt>
                <c:pt idx="4">
                  <c:v>208</c:v>
                </c:pt>
                <c:pt idx="5">
                  <c:v>194</c:v>
                </c:pt>
                <c:pt idx="6">
                  <c:v>204</c:v>
                </c:pt>
                <c:pt idx="7">
                  <c:v>87</c:v>
                </c:pt>
                <c:pt idx="8">
                  <c:v>73</c:v>
                </c:pt>
                <c:pt idx="9">
                  <c:v>168</c:v>
                </c:pt>
                <c:pt idx="10">
                  <c:v>227</c:v>
                </c:pt>
                <c:pt idx="11">
                  <c:v>160</c:v>
                </c:pt>
                <c:pt idx="12">
                  <c:v>131</c:v>
                </c:pt>
                <c:pt idx="13">
                  <c:v>101</c:v>
                </c:pt>
                <c:pt idx="14">
                  <c:v>99</c:v>
                </c:pt>
                <c:pt idx="15">
                  <c:v>59</c:v>
                </c:pt>
                <c:pt idx="16">
                  <c:v>102</c:v>
                </c:pt>
                <c:pt idx="17">
                  <c:v>169</c:v>
                </c:pt>
                <c:pt idx="18">
                  <c:v>113</c:v>
                </c:pt>
                <c:pt idx="19">
                  <c:v>59</c:v>
                </c:pt>
                <c:pt idx="20">
                  <c:v>85</c:v>
                </c:pt>
                <c:pt idx="21">
                  <c:v>32</c:v>
                </c:pt>
                <c:pt idx="22">
                  <c:v>39</c:v>
                </c:pt>
                <c:pt idx="23">
                  <c:v>61</c:v>
                </c:pt>
                <c:pt idx="24">
                  <c:v>77</c:v>
                </c:pt>
                <c:pt idx="25">
                  <c:v>62</c:v>
                </c:pt>
                <c:pt idx="26">
                  <c:v>66</c:v>
                </c:pt>
                <c:pt idx="27">
                  <c:v>29</c:v>
                </c:pt>
                <c:pt idx="28">
                  <c:v>27</c:v>
                </c:pt>
                <c:pt idx="29">
                  <c:v>9</c:v>
                </c:pt>
                <c:pt idx="30">
                  <c:v>59</c:v>
                </c:pt>
                <c:pt idx="31">
                  <c:v>41</c:v>
                </c:pt>
                <c:pt idx="32">
                  <c:v>45</c:v>
                </c:pt>
                <c:pt idx="33">
                  <c:v>32</c:v>
                </c:pt>
                <c:pt idx="34">
                  <c:v>32</c:v>
                </c:pt>
                <c:pt idx="35">
                  <c:v>17</c:v>
                </c:pt>
                <c:pt idx="36">
                  <c:v>5</c:v>
                </c:pt>
                <c:pt idx="37">
                  <c:v>25</c:v>
                </c:pt>
                <c:pt idx="38">
                  <c:v>36</c:v>
                </c:pt>
                <c:pt idx="39">
                  <c:v>20</c:v>
                </c:pt>
                <c:pt idx="40">
                  <c:v>20</c:v>
                </c:pt>
                <c:pt idx="41">
                  <c:v>18</c:v>
                </c:pt>
                <c:pt idx="42">
                  <c:v>12</c:v>
                </c:pt>
                <c:pt idx="43">
                  <c:v>6</c:v>
                </c:pt>
                <c:pt idx="44">
                  <c:v>12</c:v>
                </c:pt>
                <c:pt idx="45">
                  <c:v>11</c:v>
                </c:pt>
                <c:pt idx="46">
                  <c:v>15</c:v>
                </c:pt>
                <c:pt idx="47">
                  <c:v>6</c:v>
                </c:pt>
                <c:pt idx="48">
                  <c:v>18</c:v>
                </c:pt>
                <c:pt idx="49">
                  <c:v>0</c:v>
                </c:pt>
                <c:pt idx="50">
                  <c:v>5</c:v>
                </c:pt>
                <c:pt idx="51">
                  <c:v>10</c:v>
                </c:pt>
                <c:pt idx="52">
                  <c:v>12</c:v>
                </c:pt>
                <c:pt idx="53">
                  <c:v>9</c:v>
                </c:pt>
                <c:pt idx="54">
                  <c:v>8</c:v>
                </c:pt>
                <c:pt idx="55">
                  <c:v>9</c:v>
                </c:pt>
                <c:pt idx="56">
                  <c:v>4</c:v>
                </c:pt>
                <c:pt idx="57">
                  <c:v>6</c:v>
                </c:pt>
                <c:pt idx="58">
                  <c:v>14</c:v>
                </c:pt>
                <c:pt idx="59">
                  <c:v>11</c:v>
                </c:pt>
                <c:pt idx="60">
                  <c:v>5</c:v>
                </c:pt>
                <c:pt idx="61">
                  <c:v>9</c:v>
                </c:pt>
                <c:pt idx="62">
                  <c:v>6</c:v>
                </c:pt>
                <c:pt idx="63">
                  <c:v>11</c:v>
                </c:pt>
                <c:pt idx="64">
                  <c:v>4</c:v>
                </c:pt>
                <c:pt idx="65">
                  <c:v>5</c:v>
                </c:pt>
                <c:pt idx="66">
                  <c:v>3</c:v>
                </c:pt>
                <c:pt idx="67">
                  <c:v>13</c:v>
                </c:pt>
                <c:pt idx="68">
                  <c:v>10</c:v>
                </c:pt>
                <c:pt idx="69">
                  <c:v>16</c:v>
                </c:pt>
                <c:pt idx="70">
                  <c:v>5</c:v>
                </c:pt>
                <c:pt idx="71">
                  <c:v>2</c:v>
                </c:pt>
                <c:pt idx="72">
                  <c:v>13</c:v>
                </c:pt>
                <c:pt idx="73">
                  <c:v>9</c:v>
                </c:pt>
                <c:pt idx="74">
                  <c:v>20</c:v>
                </c:pt>
                <c:pt idx="75">
                  <c:v>13</c:v>
                </c:pt>
                <c:pt idx="76">
                  <c:v>11</c:v>
                </c:pt>
                <c:pt idx="77">
                  <c:v>7</c:v>
                </c:pt>
                <c:pt idx="78">
                  <c:v>2</c:v>
                </c:pt>
                <c:pt idx="79">
                  <c:v>15</c:v>
                </c:pt>
                <c:pt idx="80">
                  <c:v>14</c:v>
                </c:pt>
                <c:pt idx="81">
                  <c:v>14</c:v>
                </c:pt>
                <c:pt idx="82">
                  <c:v>18</c:v>
                </c:pt>
                <c:pt idx="83">
                  <c:v>9</c:v>
                </c:pt>
                <c:pt idx="84">
                  <c:v>15</c:v>
                </c:pt>
                <c:pt idx="85">
                  <c:v>9</c:v>
                </c:pt>
                <c:pt idx="86">
                  <c:v>17</c:v>
                </c:pt>
                <c:pt idx="87">
                  <c:v>19</c:v>
                </c:pt>
                <c:pt idx="88">
                  <c:v>13</c:v>
                </c:pt>
                <c:pt idx="89">
                  <c:v>12</c:v>
                </c:pt>
                <c:pt idx="90">
                  <c:v>14</c:v>
                </c:pt>
                <c:pt idx="91">
                  <c:v>6</c:v>
                </c:pt>
                <c:pt idx="92">
                  <c:v>4</c:v>
                </c:pt>
                <c:pt idx="93">
                  <c:v>14</c:v>
                </c:pt>
                <c:pt idx="94">
                  <c:v>22</c:v>
                </c:pt>
                <c:pt idx="95">
                  <c:v>28</c:v>
                </c:pt>
                <c:pt idx="96">
                  <c:v>20</c:v>
                </c:pt>
                <c:pt idx="97">
                  <c:v>17</c:v>
                </c:pt>
                <c:pt idx="98">
                  <c:v>9</c:v>
                </c:pt>
                <c:pt idx="99">
                  <c:v>6</c:v>
                </c:pt>
                <c:pt idx="100">
                  <c:v>19</c:v>
                </c:pt>
                <c:pt idx="101">
                  <c:v>12</c:v>
                </c:pt>
                <c:pt idx="102">
                  <c:v>27</c:v>
                </c:pt>
                <c:pt idx="103">
                  <c:v>13</c:v>
                </c:pt>
                <c:pt idx="104">
                  <c:v>20</c:v>
                </c:pt>
                <c:pt idx="105">
                  <c:v>13</c:v>
                </c:pt>
                <c:pt idx="106">
                  <c:v>1</c:v>
                </c:pt>
                <c:pt idx="107">
                  <c:v>19</c:v>
                </c:pt>
                <c:pt idx="108">
                  <c:v>26</c:v>
                </c:pt>
                <c:pt idx="109">
                  <c:v>18</c:v>
                </c:pt>
                <c:pt idx="110">
                  <c:v>11</c:v>
                </c:pt>
                <c:pt idx="111">
                  <c:v>14</c:v>
                </c:pt>
                <c:pt idx="112">
                  <c:v>7</c:v>
                </c:pt>
                <c:pt idx="113">
                  <c:v>8</c:v>
                </c:pt>
                <c:pt idx="114">
                  <c:v>33</c:v>
                </c:pt>
                <c:pt idx="115">
                  <c:v>26</c:v>
                </c:pt>
                <c:pt idx="116">
                  <c:v>24</c:v>
                </c:pt>
                <c:pt idx="117">
                  <c:v>26</c:v>
                </c:pt>
                <c:pt idx="118">
                  <c:v>17</c:v>
                </c:pt>
                <c:pt idx="119">
                  <c:v>10</c:v>
                </c:pt>
                <c:pt idx="120">
                  <c:v>3</c:v>
                </c:pt>
                <c:pt idx="121">
                  <c:v>18</c:v>
                </c:pt>
                <c:pt idx="122">
                  <c:v>26</c:v>
                </c:pt>
                <c:pt idx="123">
                  <c:v>42</c:v>
                </c:pt>
                <c:pt idx="124">
                  <c:v>32</c:v>
                </c:pt>
                <c:pt idx="125">
                  <c:v>33</c:v>
                </c:pt>
                <c:pt idx="126">
                  <c:v>27</c:v>
                </c:pt>
                <c:pt idx="127">
                  <c:v>21</c:v>
                </c:pt>
                <c:pt idx="128">
                  <c:v>55</c:v>
                </c:pt>
                <c:pt idx="129">
                  <c:v>47</c:v>
                </c:pt>
                <c:pt idx="130">
                  <c:v>31</c:v>
                </c:pt>
                <c:pt idx="131">
                  <c:v>47</c:v>
                </c:pt>
                <c:pt idx="132">
                  <c:v>49</c:v>
                </c:pt>
                <c:pt idx="133">
                  <c:v>23</c:v>
                </c:pt>
                <c:pt idx="134">
                  <c:v>13</c:v>
                </c:pt>
                <c:pt idx="135">
                  <c:v>54</c:v>
                </c:pt>
                <c:pt idx="136">
                  <c:v>55</c:v>
                </c:pt>
                <c:pt idx="137">
                  <c:v>56</c:v>
                </c:pt>
                <c:pt idx="138">
                  <c:v>65</c:v>
                </c:pt>
                <c:pt idx="139">
                  <c:v>53</c:v>
                </c:pt>
                <c:pt idx="140">
                  <c:v>32</c:v>
                </c:pt>
                <c:pt idx="141">
                  <c:v>16</c:v>
                </c:pt>
                <c:pt idx="142">
                  <c:v>46</c:v>
                </c:pt>
                <c:pt idx="143">
                  <c:v>49</c:v>
                </c:pt>
                <c:pt idx="144">
                  <c:v>47</c:v>
                </c:pt>
                <c:pt idx="145">
                  <c:v>53</c:v>
                </c:pt>
                <c:pt idx="146">
                  <c:v>64</c:v>
                </c:pt>
                <c:pt idx="147">
                  <c:v>48</c:v>
                </c:pt>
                <c:pt idx="148">
                  <c:v>33</c:v>
                </c:pt>
                <c:pt idx="149">
                  <c:v>98</c:v>
                </c:pt>
                <c:pt idx="150">
                  <c:v>50</c:v>
                </c:pt>
                <c:pt idx="151">
                  <c:v>122</c:v>
                </c:pt>
                <c:pt idx="152">
                  <c:v>133</c:v>
                </c:pt>
                <c:pt idx="153">
                  <c:v>75</c:v>
                </c:pt>
                <c:pt idx="154">
                  <c:v>77</c:v>
                </c:pt>
                <c:pt idx="155">
                  <c:v>37</c:v>
                </c:pt>
                <c:pt idx="156">
                  <c:v>111</c:v>
                </c:pt>
                <c:pt idx="157">
                  <c:v>123</c:v>
                </c:pt>
                <c:pt idx="158">
                  <c:v>131</c:v>
                </c:pt>
                <c:pt idx="159">
                  <c:v>106</c:v>
                </c:pt>
                <c:pt idx="160">
                  <c:v>143</c:v>
                </c:pt>
                <c:pt idx="161">
                  <c:v>63</c:v>
                </c:pt>
                <c:pt idx="162">
                  <c:v>42</c:v>
                </c:pt>
                <c:pt idx="163">
                  <c:v>184</c:v>
                </c:pt>
                <c:pt idx="164">
                  <c:v>161</c:v>
                </c:pt>
                <c:pt idx="165">
                  <c:v>157</c:v>
                </c:pt>
                <c:pt idx="166">
                  <c:v>210</c:v>
                </c:pt>
                <c:pt idx="167">
                  <c:v>174</c:v>
                </c:pt>
                <c:pt idx="168">
                  <c:v>144</c:v>
                </c:pt>
                <c:pt idx="169">
                  <c:v>121</c:v>
                </c:pt>
                <c:pt idx="170">
                  <c:v>328</c:v>
                </c:pt>
                <c:pt idx="171">
                  <c:v>355</c:v>
                </c:pt>
                <c:pt idx="172">
                  <c:v>419</c:v>
                </c:pt>
                <c:pt idx="173">
                  <c:v>463</c:v>
                </c:pt>
                <c:pt idx="174">
                  <c:v>610</c:v>
                </c:pt>
                <c:pt idx="175">
                  <c:v>331</c:v>
                </c:pt>
                <c:pt idx="176">
                  <c:v>286</c:v>
                </c:pt>
                <c:pt idx="177">
                  <c:v>695</c:v>
                </c:pt>
                <c:pt idx="178">
                  <c:v>811</c:v>
                </c:pt>
                <c:pt idx="179">
                  <c:v>844</c:v>
                </c:pt>
                <c:pt idx="180">
                  <c:v>576</c:v>
                </c:pt>
                <c:pt idx="181">
                  <c:v>926</c:v>
                </c:pt>
                <c:pt idx="182">
                  <c:v>764</c:v>
                </c:pt>
                <c:pt idx="183">
                  <c:v>427</c:v>
                </c:pt>
                <c:pt idx="184">
                  <c:v>1301</c:v>
                </c:pt>
                <c:pt idx="185">
                  <c:v>1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0A-4733-AA2C-6A31356AE6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110</c:v>
                </c:pt>
                <c:pt idx="154">
                  <c:v>115</c:v>
                </c:pt>
                <c:pt idx="155">
                  <c:v>119</c:v>
                </c:pt>
                <c:pt idx="156">
                  <c:v>123</c:v>
                </c:pt>
                <c:pt idx="157">
                  <c:v>128</c:v>
                </c:pt>
                <c:pt idx="158">
                  <c:v>133</c:v>
                </c:pt>
                <c:pt idx="159">
                  <c:v>138</c:v>
                </c:pt>
                <c:pt idx="160">
                  <c:v>143</c:v>
                </c:pt>
                <c:pt idx="161">
                  <c:v>148</c:v>
                </c:pt>
                <c:pt idx="162">
                  <c:v>154</c:v>
                </c:pt>
                <c:pt idx="163">
                  <c:v>159</c:v>
                </c:pt>
                <c:pt idx="164">
                  <c:v>165</c:v>
                </c:pt>
                <c:pt idx="165">
                  <c:v>171</c:v>
                </c:pt>
                <c:pt idx="166">
                  <c:v>178</c:v>
                </c:pt>
                <c:pt idx="167">
                  <c:v>184</c:v>
                </c:pt>
                <c:pt idx="168">
                  <c:v>191</c:v>
                </c:pt>
                <c:pt idx="169">
                  <c:v>198</c:v>
                </c:pt>
                <c:pt idx="170">
                  <c:v>205</c:v>
                </c:pt>
                <c:pt idx="171">
                  <c:v>213</c:v>
                </c:pt>
                <c:pt idx="172">
                  <c:v>220</c:v>
                </c:pt>
                <c:pt idx="173">
                  <c:v>228</c:v>
                </c:pt>
                <c:pt idx="174">
                  <c:v>237</c:v>
                </c:pt>
                <c:pt idx="175">
                  <c:v>245</c:v>
                </c:pt>
                <c:pt idx="176">
                  <c:v>254</c:v>
                </c:pt>
                <c:pt idx="177">
                  <c:v>263</c:v>
                </c:pt>
                <c:pt idx="178">
                  <c:v>272</c:v>
                </c:pt>
                <c:pt idx="179">
                  <c:v>282</c:v>
                </c:pt>
                <c:pt idx="180">
                  <c:v>292</c:v>
                </c:pt>
                <c:pt idx="181">
                  <c:v>303</c:v>
                </c:pt>
                <c:pt idx="182">
                  <c:v>313</c:v>
                </c:pt>
                <c:pt idx="183">
                  <c:v>325</c:v>
                </c:pt>
                <c:pt idx="184">
                  <c:v>336</c:v>
                </c:pt>
                <c:pt idx="185">
                  <c:v>348</c:v>
                </c:pt>
                <c:pt idx="186">
                  <c:v>360</c:v>
                </c:pt>
                <c:pt idx="187">
                  <c:v>373</c:v>
                </c:pt>
                <c:pt idx="188">
                  <c:v>386</c:v>
                </c:pt>
                <c:pt idx="189">
                  <c:v>400</c:v>
                </c:pt>
                <c:pt idx="190">
                  <c:v>414</c:v>
                </c:pt>
                <c:pt idx="191">
                  <c:v>428</c:v>
                </c:pt>
                <c:pt idx="192">
                  <c:v>443</c:v>
                </c:pt>
                <c:pt idx="193">
                  <c:v>459</c:v>
                </c:pt>
                <c:pt idx="194">
                  <c:v>475</c:v>
                </c:pt>
                <c:pt idx="195">
                  <c:v>491</c:v>
                </c:pt>
                <c:pt idx="196">
                  <c:v>508</c:v>
                </c:pt>
                <c:pt idx="197">
                  <c:v>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0A-4733-AA2C-6A31356AE6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114</c:v>
                </c:pt>
                <c:pt idx="154">
                  <c:v>121</c:v>
                </c:pt>
                <c:pt idx="155">
                  <c:v>127</c:v>
                </c:pt>
                <c:pt idx="156">
                  <c:v>132</c:v>
                </c:pt>
                <c:pt idx="157">
                  <c:v>139</c:v>
                </c:pt>
                <c:pt idx="158">
                  <c:v>147</c:v>
                </c:pt>
                <c:pt idx="159">
                  <c:v>155</c:v>
                </c:pt>
                <c:pt idx="160">
                  <c:v>164</c:v>
                </c:pt>
                <c:pt idx="161">
                  <c:v>172</c:v>
                </c:pt>
                <c:pt idx="162">
                  <c:v>180</c:v>
                </c:pt>
                <c:pt idx="163">
                  <c:v>189</c:v>
                </c:pt>
                <c:pt idx="164">
                  <c:v>199</c:v>
                </c:pt>
                <c:pt idx="165">
                  <c:v>210</c:v>
                </c:pt>
                <c:pt idx="166">
                  <c:v>221</c:v>
                </c:pt>
                <c:pt idx="167">
                  <c:v>232</c:v>
                </c:pt>
                <c:pt idx="168">
                  <c:v>244</c:v>
                </c:pt>
                <c:pt idx="169">
                  <c:v>256</c:v>
                </c:pt>
                <c:pt idx="170">
                  <c:v>269</c:v>
                </c:pt>
                <c:pt idx="171">
                  <c:v>283</c:v>
                </c:pt>
                <c:pt idx="172">
                  <c:v>298</c:v>
                </c:pt>
                <c:pt idx="173">
                  <c:v>313</c:v>
                </c:pt>
                <c:pt idx="174">
                  <c:v>328</c:v>
                </c:pt>
                <c:pt idx="175">
                  <c:v>345</c:v>
                </c:pt>
                <c:pt idx="176">
                  <c:v>363</c:v>
                </c:pt>
                <c:pt idx="177">
                  <c:v>381</c:v>
                </c:pt>
                <c:pt idx="178">
                  <c:v>400</c:v>
                </c:pt>
                <c:pt idx="179">
                  <c:v>420</c:v>
                </c:pt>
                <c:pt idx="180">
                  <c:v>441</c:v>
                </c:pt>
                <c:pt idx="181">
                  <c:v>463</c:v>
                </c:pt>
                <c:pt idx="182">
                  <c:v>487</c:v>
                </c:pt>
                <c:pt idx="183">
                  <c:v>511</c:v>
                </c:pt>
                <c:pt idx="184">
                  <c:v>537</c:v>
                </c:pt>
                <c:pt idx="185">
                  <c:v>564</c:v>
                </c:pt>
                <c:pt idx="186">
                  <c:v>592</c:v>
                </c:pt>
                <c:pt idx="187">
                  <c:v>621</c:v>
                </c:pt>
                <c:pt idx="188">
                  <c:v>652</c:v>
                </c:pt>
                <c:pt idx="189">
                  <c:v>685</c:v>
                </c:pt>
                <c:pt idx="190">
                  <c:v>719</c:v>
                </c:pt>
                <c:pt idx="191">
                  <c:v>755</c:v>
                </c:pt>
                <c:pt idx="192">
                  <c:v>793</c:v>
                </c:pt>
                <c:pt idx="193">
                  <c:v>832</c:v>
                </c:pt>
                <c:pt idx="194">
                  <c:v>873</c:v>
                </c:pt>
                <c:pt idx="195">
                  <c:v>917</c:v>
                </c:pt>
                <c:pt idx="196">
                  <c:v>962</c:v>
                </c:pt>
                <c:pt idx="197">
                  <c:v>10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0A-4733-AA2C-6A31356AE69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118</c:v>
                </c:pt>
                <c:pt idx="154">
                  <c:v>128</c:v>
                </c:pt>
                <c:pt idx="155">
                  <c:v>135</c:v>
                </c:pt>
                <c:pt idx="156">
                  <c:v>142</c:v>
                </c:pt>
                <c:pt idx="157">
                  <c:v>150</c:v>
                </c:pt>
                <c:pt idx="158">
                  <c:v>161</c:v>
                </c:pt>
                <c:pt idx="159">
                  <c:v>173</c:v>
                </c:pt>
                <c:pt idx="160">
                  <c:v>186</c:v>
                </c:pt>
                <c:pt idx="161">
                  <c:v>197</c:v>
                </c:pt>
                <c:pt idx="162">
                  <c:v>209</c:v>
                </c:pt>
                <c:pt idx="163">
                  <c:v>222</c:v>
                </c:pt>
                <c:pt idx="164">
                  <c:v>237</c:v>
                </c:pt>
                <c:pt idx="165">
                  <c:v>254</c:v>
                </c:pt>
                <c:pt idx="166">
                  <c:v>270</c:v>
                </c:pt>
                <c:pt idx="167">
                  <c:v>288</c:v>
                </c:pt>
                <c:pt idx="168">
                  <c:v>306</c:v>
                </c:pt>
                <c:pt idx="169">
                  <c:v>326</c:v>
                </c:pt>
                <c:pt idx="170">
                  <c:v>347</c:v>
                </c:pt>
                <c:pt idx="171">
                  <c:v>370</c:v>
                </c:pt>
                <c:pt idx="172">
                  <c:v>394</c:v>
                </c:pt>
                <c:pt idx="173">
                  <c:v>419</c:v>
                </c:pt>
                <c:pt idx="174">
                  <c:v>446</c:v>
                </c:pt>
                <c:pt idx="175">
                  <c:v>475</c:v>
                </c:pt>
                <c:pt idx="176">
                  <c:v>506</c:v>
                </c:pt>
                <c:pt idx="177">
                  <c:v>539</c:v>
                </c:pt>
                <c:pt idx="178">
                  <c:v>574</c:v>
                </c:pt>
                <c:pt idx="179">
                  <c:v>610</c:v>
                </c:pt>
                <c:pt idx="180">
                  <c:v>649</c:v>
                </c:pt>
                <c:pt idx="181">
                  <c:v>691</c:v>
                </c:pt>
                <c:pt idx="182">
                  <c:v>736</c:v>
                </c:pt>
                <c:pt idx="183">
                  <c:v>783</c:v>
                </c:pt>
                <c:pt idx="184">
                  <c:v>833</c:v>
                </c:pt>
                <c:pt idx="185">
                  <c:v>887</c:v>
                </c:pt>
                <c:pt idx="186">
                  <c:v>943</c:v>
                </c:pt>
                <c:pt idx="187">
                  <c:v>1004</c:v>
                </c:pt>
                <c:pt idx="188">
                  <c:v>1068</c:v>
                </c:pt>
                <c:pt idx="189">
                  <c:v>1136</c:v>
                </c:pt>
                <c:pt idx="190">
                  <c:v>1209</c:v>
                </c:pt>
                <c:pt idx="191">
                  <c:v>1286</c:v>
                </c:pt>
                <c:pt idx="192">
                  <c:v>1369</c:v>
                </c:pt>
                <c:pt idx="193">
                  <c:v>1456</c:v>
                </c:pt>
                <c:pt idx="194">
                  <c:v>1549</c:v>
                </c:pt>
                <c:pt idx="195">
                  <c:v>1648</c:v>
                </c:pt>
                <c:pt idx="196">
                  <c:v>1753</c:v>
                </c:pt>
                <c:pt idx="197">
                  <c:v>1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0A-4733-AA2C-6A31356AE69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118</c:v>
                </c:pt>
                <c:pt idx="154">
                  <c:v>128</c:v>
                </c:pt>
                <c:pt idx="155">
                  <c:v>135</c:v>
                </c:pt>
                <c:pt idx="156">
                  <c:v>142</c:v>
                </c:pt>
                <c:pt idx="157">
                  <c:v>150</c:v>
                </c:pt>
                <c:pt idx="158">
                  <c:v>161</c:v>
                </c:pt>
                <c:pt idx="159">
                  <c:v>173</c:v>
                </c:pt>
                <c:pt idx="160">
                  <c:v>186</c:v>
                </c:pt>
                <c:pt idx="161">
                  <c:v>197</c:v>
                </c:pt>
                <c:pt idx="162">
                  <c:v>209</c:v>
                </c:pt>
                <c:pt idx="163">
                  <c:v>222</c:v>
                </c:pt>
                <c:pt idx="164">
                  <c:v>253</c:v>
                </c:pt>
                <c:pt idx="165">
                  <c:v>279</c:v>
                </c:pt>
                <c:pt idx="166">
                  <c:v>303</c:v>
                </c:pt>
                <c:pt idx="167">
                  <c:v>325</c:v>
                </c:pt>
                <c:pt idx="168">
                  <c:v>353</c:v>
                </c:pt>
                <c:pt idx="169">
                  <c:v>387</c:v>
                </c:pt>
                <c:pt idx="170">
                  <c:v>425</c:v>
                </c:pt>
                <c:pt idx="171">
                  <c:v>467</c:v>
                </c:pt>
                <c:pt idx="172">
                  <c:v>507</c:v>
                </c:pt>
                <c:pt idx="173">
                  <c:v>550</c:v>
                </c:pt>
                <c:pt idx="174">
                  <c:v>599</c:v>
                </c:pt>
                <c:pt idx="175">
                  <c:v>656</c:v>
                </c:pt>
                <c:pt idx="176">
                  <c:v>718</c:v>
                </c:pt>
                <c:pt idx="177">
                  <c:v>783</c:v>
                </c:pt>
                <c:pt idx="178">
                  <c:v>852</c:v>
                </c:pt>
                <c:pt idx="179">
                  <c:v>928</c:v>
                </c:pt>
                <c:pt idx="180">
                  <c:v>1012</c:v>
                </c:pt>
                <c:pt idx="181">
                  <c:v>1105</c:v>
                </c:pt>
                <c:pt idx="182">
                  <c:v>1206</c:v>
                </c:pt>
                <c:pt idx="183">
                  <c:v>1315</c:v>
                </c:pt>
                <c:pt idx="184">
                  <c:v>1433</c:v>
                </c:pt>
                <c:pt idx="185">
                  <c:v>1469</c:v>
                </c:pt>
                <c:pt idx="186">
                  <c:v>1549</c:v>
                </c:pt>
                <c:pt idx="187">
                  <c:v>1660</c:v>
                </c:pt>
                <c:pt idx="188">
                  <c:v>1793</c:v>
                </c:pt>
                <c:pt idx="189">
                  <c:v>1912</c:v>
                </c:pt>
                <c:pt idx="190">
                  <c:v>2028</c:v>
                </c:pt>
                <c:pt idx="191">
                  <c:v>2146</c:v>
                </c:pt>
                <c:pt idx="192">
                  <c:v>2270</c:v>
                </c:pt>
                <c:pt idx="193">
                  <c:v>2424</c:v>
                </c:pt>
                <c:pt idx="194">
                  <c:v>2591</c:v>
                </c:pt>
                <c:pt idx="195">
                  <c:v>2761</c:v>
                </c:pt>
                <c:pt idx="196">
                  <c:v>2928</c:v>
                </c:pt>
                <c:pt idx="197">
                  <c:v>3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0A-4733-AA2C-6A31356AE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B-46F6-8F80-3F1CAA384018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4.512120951003368</c:v>
                </c:pt>
                <c:pt idx="1">
                  <c:v>23.089915981149929</c:v>
                </c:pt>
                <c:pt idx="2">
                  <c:v>20.245506041443054</c:v>
                </c:pt>
                <c:pt idx="3">
                  <c:v>20.496483389064249</c:v>
                </c:pt>
                <c:pt idx="4">
                  <c:v>19.659892230326932</c:v>
                </c:pt>
                <c:pt idx="5">
                  <c:v>19.325255766832004</c:v>
                </c:pt>
                <c:pt idx="6">
                  <c:v>16.48084582712513</c:v>
                </c:pt>
                <c:pt idx="7">
                  <c:v>16.062550247756473</c:v>
                </c:pt>
                <c:pt idx="8">
                  <c:v>13.971072350913181</c:v>
                </c:pt>
                <c:pt idx="9">
                  <c:v>12.9671629604284</c:v>
                </c:pt>
                <c:pt idx="10">
                  <c:v>11.795935338196159</c:v>
                </c:pt>
                <c:pt idx="11">
                  <c:v>11.377639758827501</c:v>
                </c:pt>
                <c:pt idx="12">
                  <c:v>11.461298874701232</c:v>
                </c:pt>
                <c:pt idx="13">
                  <c:v>10.373730368342722</c:v>
                </c:pt>
                <c:pt idx="14">
                  <c:v>8.2822524714994294</c:v>
                </c:pt>
                <c:pt idx="15">
                  <c:v>7.8639568921307736</c:v>
                </c:pt>
                <c:pt idx="16">
                  <c:v>6.6927292698985292</c:v>
                </c:pt>
                <c:pt idx="17">
                  <c:v>6.6927292698985292</c:v>
                </c:pt>
                <c:pt idx="18">
                  <c:v>5.6888198794137503</c:v>
                </c:pt>
                <c:pt idx="19">
                  <c:v>5.6051607635400194</c:v>
                </c:pt>
                <c:pt idx="20">
                  <c:v>5.4378425317925556</c:v>
                </c:pt>
                <c:pt idx="21">
                  <c:v>5.5215016476662875</c:v>
                </c:pt>
                <c:pt idx="22">
                  <c:v>5.019546952423898</c:v>
                </c:pt>
                <c:pt idx="23">
                  <c:v>5.1868651841713609</c:v>
                </c:pt>
                <c:pt idx="24">
                  <c:v>4.4339331413077758</c:v>
                </c:pt>
                <c:pt idx="25">
                  <c:v>4.7685696048027024</c:v>
                </c:pt>
                <c:pt idx="26">
                  <c:v>4.8522287206764343</c:v>
                </c:pt>
                <c:pt idx="27">
                  <c:v>5.1868651841713609</c:v>
                </c:pt>
                <c:pt idx="28">
                  <c:v>5.103206068297629</c:v>
                </c:pt>
                <c:pt idx="29">
                  <c:v>4.7685696048027024</c:v>
                </c:pt>
                <c:pt idx="30">
                  <c:v>4.8522287206764343</c:v>
                </c:pt>
                <c:pt idx="31">
                  <c:v>4.6012513730552396</c:v>
                </c:pt>
                <c:pt idx="32">
                  <c:v>5.1868651841713609</c:v>
                </c:pt>
                <c:pt idx="33">
                  <c:v>5.019546952423898</c:v>
                </c:pt>
                <c:pt idx="34">
                  <c:v>4.266614909560313</c:v>
                </c:pt>
                <c:pt idx="35">
                  <c:v>3.5973419825704598</c:v>
                </c:pt>
                <c:pt idx="36">
                  <c:v>4.266614909560313</c:v>
                </c:pt>
                <c:pt idx="37">
                  <c:v>4.350274025434044</c:v>
                </c:pt>
                <c:pt idx="38">
                  <c:v>5.1868651841713609</c:v>
                </c:pt>
                <c:pt idx="39">
                  <c:v>4.6849104889289706</c:v>
                </c:pt>
                <c:pt idx="40">
                  <c:v>4.5175922571815077</c:v>
                </c:pt>
                <c:pt idx="41">
                  <c:v>5.1868651841713609</c:v>
                </c:pt>
                <c:pt idx="42">
                  <c:v>5.6888198794137503</c:v>
                </c:pt>
                <c:pt idx="43">
                  <c:v>6.2744336905298708</c:v>
                </c:pt>
                <c:pt idx="44">
                  <c:v>6.5254110381510664</c:v>
                </c:pt>
                <c:pt idx="45">
                  <c:v>6.1071154587824079</c:v>
                </c:pt>
                <c:pt idx="46">
                  <c:v>6.2744336905298708</c:v>
                </c:pt>
                <c:pt idx="47">
                  <c:v>6.2744336905298708</c:v>
                </c:pt>
                <c:pt idx="48">
                  <c:v>6.4417519222773354</c:v>
                </c:pt>
                <c:pt idx="49">
                  <c:v>6.8600475016459939</c:v>
                </c:pt>
                <c:pt idx="50">
                  <c:v>6.3580928064036035</c:v>
                </c:pt>
                <c:pt idx="51">
                  <c:v>6.7763883857722611</c:v>
                </c:pt>
                <c:pt idx="52">
                  <c:v>6.6090701540247982</c:v>
                </c:pt>
                <c:pt idx="53">
                  <c:v>7.2783430810146506</c:v>
                </c:pt>
                <c:pt idx="54">
                  <c:v>7.8639568921307736</c:v>
                </c:pt>
                <c:pt idx="55">
                  <c:v>8.0312751238782365</c:v>
                </c:pt>
                <c:pt idx="56">
                  <c:v>8.449570703246895</c:v>
                </c:pt>
                <c:pt idx="57">
                  <c:v>8.3659115873731622</c:v>
                </c:pt>
                <c:pt idx="58">
                  <c:v>7.8639568921307736</c:v>
                </c:pt>
                <c:pt idx="59">
                  <c:v>8.2822524714994294</c:v>
                </c:pt>
                <c:pt idx="60">
                  <c:v>7.5293204286358462</c:v>
                </c:pt>
                <c:pt idx="61">
                  <c:v>7.1110248492671877</c:v>
                </c:pt>
                <c:pt idx="62">
                  <c:v>6.8600475016459939</c:v>
                </c:pt>
                <c:pt idx="63">
                  <c:v>7.1110248492671877</c:v>
                </c:pt>
                <c:pt idx="64">
                  <c:v>8.3659115873731622</c:v>
                </c:pt>
                <c:pt idx="65">
                  <c:v>9.0351845143630154</c:v>
                </c:pt>
                <c:pt idx="66">
                  <c:v>9.2861618619842101</c:v>
                </c:pt>
                <c:pt idx="67">
                  <c:v>9.5371392096054048</c:v>
                </c:pt>
                <c:pt idx="68">
                  <c:v>9.7044574413528686</c:v>
                </c:pt>
                <c:pt idx="69">
                  <c:v>10.122753020721527</c:v>
                </c:pt>
                <c:pt idx="70">
                  <c:v>9.2861618619842101</c:v>
                </c:pt>
                <c:pt idx="71">
                  <c:v>9.2025027461104791</c:v>
                </c:pt>
                <c:pt idx="72">
                  <c:v>8.6168889349943569</c:v>
                </c:pt>
                <c:pt idx="73">
                  <c:v>8.8678662826155517</c:v>
                </c:pt>
                <c:pt idx="74">
                  <c:v>9.2025027461104791</c:v>
                </c:pt>
                <c:pt idx="75">
                  <c:v>8.7842071667418207</c:v>
                </c:pt>
                <c:pt idx="76">
                  <c:v>8.7842071667418207</c:v>
                </c:pt>
                <c:pt idx="77">
                  <c:v>9.9554347889740633</c:v>
                </c:pt>
                <c:pt idx="78">
                  <c:v>9.2025027461104791</c:v>
                </c:pt>
                <c:pt idx="79">
                  <c:v>9.0351845143630154</c:v>
                </c:pt>
                <c:pt idx="80">
                  <c:v>8.5332298191206259</c:v>
                </c:pt>
                <c:pt idx="81">
                  <c:v>8.0312751238782365</c:v>
                </c:pt>
                <c:pt idx="82">
                  <c:v>8.6168889349943569</c:v>
                </c:pt>
                <c:pt idx="83">
                  <c:v>9.7881165572265996</c:v>
                </c:pt>
                <c:pt idx="84">
                  <c:v>9.7881165572265996</c:v>
                </c:pt>
                <c:pt idx="85">
                  <c:v>10.290071252468989</c:v>
                </c:pt>
                <c:pt idx="86">
                  <c:v>11.544957990574964</c:v>
                </c:pt>
                <c:pt idx="87">
                  <c:v>11.795935338196159</c:v>
                </c:pt>
                <c:pt idx="88">
                  <c:v>12.046912685817354</c:v>
                </c:pt>
                <c:pt idx="89">
                  <c:v>11.628617106448695</c:v>
                </c:pt>
                <c:pt idx="90">
                  <c:v>10.373730368342722</c:v>
                </c:pt>
                <c:pt idx="91">
                  <c:v>10.373730368342722</c:v>
                </c:pt>
                <c:pt idx="92">
                  <c:v>11.87959445406989</c:v>
                </c:pt>
                <c:pt idx="93">
                  <c:v>12.381549149312281</c:v>
                </c:pt>
                <c:pt idx="94">
                  <c:v>13.720095003291988</c:v>
                </c:pt>
                <c:pt idx="95">
                  <c:v>15.142299973145423</c:v>
                </c:pt>
                <c:pt idx="96">
                  <c:v>16.648164058872592</c:v>
                </c:pt>
                <c:pt idx="97">
                  <c:v>19.743551346200661</c:v>
                </c:pt>
                <c:pt idx="98">
                  <c:v>21.500392779549028</c:v>
                </c:pt>
                <c:pt idx="99">
                  <c:v>20.580142504937978</c:v>
                </c:pt>
                <c:pt idx="100">
                  <c:v>21.835029243043952</c:v>
                </c:pt>
                <c:pt idx="101">
                  <c:v>23.173575097023662</c:v>
                </c:pt>
                <c:pt idx="102">
                  <c:v>22.838938633528734</c:v>
                </c:pt>
                <c:pt idx="103">
                  <c:v>22.169665706538879</c:v>
                </c:pt>
                <c:pt idx="104">
                  <c:v>22.08600659066515</c:v>
                </c:pt>
                <c:pt idx="105">
                  <c:v>22.755279517655001</c:v>
                </c:pt>
                <c:pt idx="106">
                  <c:v>24.846757414498292</c:v>
                </c:pt>
                <c:pt idx="107">
                  <c:v>26.35262150022546</c:v>
                </c:pt>
                <c:pt idx="108">
                  <c:v>26.687257963720388</c:v>
                </c:pt>
                <c:pt idx="109">
                  <c:v>27.440190006583975</c:v>
                </c:pt>
                <c:pt idx="110">
                  <c:v>27.69116735420517</c:v>
                </c:pt>
                <c:pt idx="111">
                  <c:v>27.021894427215315</c:v>
                </c:pt>
                <c:pt idx="112">
                  <c:v>26.519939731972922</c:v>
                </c:pt>
                <c:pt idx="113">
                  <c:v>25.767007689109342</c:v>
                </c:pt>
                <c:pt idx="114">
                  <c:v>24.763098298624563</c:v>
                </c:pt>
                <c:pt idx="115">
                  <c:v>25.683348573235605</c:v>
                </c:pt>
                <c:pt idx="116">
                  <c:v>27.021894427215315</c:v>
                </c:pt>
                <c:pt idx="117">
                  <c:v>28.444099397068751</c:v>
                </c:pt>
                <c:pt idx="118">
                  <c:v>32.794373422502794</c:v>
                </c:pt>
                <c:pt idx="119">
                  <c:v>32.87803253837653</c:v>
                </c:pt>
                <c:pt idx="120">
                  <c:v>39.152466228906398</c:v>
                </c:pt>
                <c:pt idx="121">
                  <c:v>45.845195498804927</c:v>
                </c:pt>
                <c:pt idx="122">
                  <c:v>46.765445773415976</c:v>
                </c:pt>
                <c:pt idx="123">
                  <c:v>49.191560133754194</c:v>
                </c:pt>
                <c:pt idx="124">
                  <c:v>49.526196597249125</c:v>
                </c:pt>
                <c:pt idx="125">
                  <c:v>50.613765103607633</c:v>
                </c:pt>
                <c:pt idx="126">
                  <c:v>56.720880562390043</c:v>
                </c:pt>
                <c:pt idx="127">
                  <c:v>57.47381260525362</c:v>
                </c:pt>
                <c:pt idx="128">
                  <c:v>55.215016476662868</c:v>
                </c:pt>
                <c:pt idx="129">
                  <c:v>60.903836356076624</c:v>
                </c:pt>
                <c:pt idx="130">
                  <c:v>59.73260873384438</c:v>
                </c:pt>
                <c:pt idx="131">
                  <c:v>60.150904313213033</c:v>
                </c:pt>
                <c:pt idx="132">
                  <c:v>66.258019771995436</c:v>
                </c:pt>
                <c:pt idx="133">
                  <c:v>69.437066175197245</c:v>
                </c:pt>
                <c:pt idx="134">
                  <c:v>71.612203187914275</c:v>
                </c:pt>
                <c:pt idx="135">
                  <c:v>80.312751238782369</c:v>
                </c:pt>
                <c:pt idx="136">
                  <c:v>82.906183830868031</c:v>
                </c:pt>
                <c:pt idx="137">
                  <c:v>89.68257221664031</c:v>
                </c:pt>
                <c:pt idx="138">
                  <c:v>96.291642370665102</c:v>
                </c:pt>
                <c:pt idx="139">
                  <c:v>108.33855505648245</c:v>
                </c:pt>
                <c:pt idx="140">
                  <c:v>124.5684235359864</c:v>
                </c:pt>
                <c:pt idx="141">
                  <c:v>146.48711189490407</c:v>
                </c:pt>
                <c:pt idx="142">
                  <c:v>167.65286821095819</c:v>
                </c:pt>
                <c:pt idx="143">
                  <c:v>204.12824273190515</c:v>
                </c:pt>
                <c:pt idx="144">
                  <c:v>219.77249740029299</c:v>
                </c:pt>
                <c:pt idx="145">
                  <c:v>233.57625151945871</c:v>
                </c:pt>
                <c:pt idx="146">
                  <c:v>264.27914704511824</c:v>
                </c:pt>
                <c:pt idx="147">
                  <c:v>302.42770388353983</c:v>
                </c:pt>
                <c:pt idx="148">
                  <c:v>337.98282812987571</c:v>
                </c:pt>
                <c:pt idx="149">
                  <c:v>347.4363082236074</c:v>
                </c:pt>
                <c:pt idx="150">
                  <c:v>373.87258883970662</c:v>
                </c:pt>
                <c:pt idx="151">
                  <c:v>410.09698601303239</c:v>
                </c:pt>
                <c:pt idx="152">
                  <c:v>421.89292135122855</c:v>
                </c:pt>
                <c:pt idx="153">
                  <c:v>472.59034557070999</c:v>
                </c:pt>
                <c:pt idx="154">
                  <c:v>530.14781729183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C0B-46F6-8F80-3F1CAA3840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46.430809309921052</c:v>
                </c:pt>
                <c:pt idx="123">
                  <c:v>48.187650743269415</c:v>
                </c:pt>
                <c:pt idx="124">
                  <c:v>49.944492176617771</c:v>
                </c:pt>
                <c:pt idx="125">
                  <c:v>51.8686518417136</c:v>
                </c:pt>
                <c:pt idx="126">
                  <c:v>53.792811506809429</c:v>
                </c:pt>
                <c:pt idx="127">
                  <c:v>55.800630287778993</c:v>
                </c:pt>
                <c:pt idx="128">
                  <c:v>57.892108184622288</c:v>
                </c:pt>
                <c:pt idx="129">
                  <c:v>60.150904313213033</c:v>
                </c:pt>
                <c:pt idx="130">
                  <c:v>62.409700441803786</c:v>
                </c:pt>
                <c:pt idx="131">
                  <c:v>64.752155686268281</c:v>
                </c:pt>
                <c:pt idx="132">
                  <c:v>67.178270046606499</c:v>
                </c:pt>
                <c:pt idx="133">
                  <c:v>69.771702638692176</c:v>
                </c:pt>
                <c:pt idx="134">
                  <c:v>72.365135230777852</c:v>
                </c:pt>
                <c:pt idx="135">
                  <c:v>75.125886054610987</c:v>
                </c:pt>
                <c:pt idx="136">
                  <c:v>77.886636878444136</c:v>
                </c:pt>
                <c:pt idx="137">
                  <c:v>80.731046818151015</c:v>
                </c:pt>
                <c:pt idx="138">
                  <c:v>83.742774989605351</c:v>
                </c:pt>
                <c:pt idx="139">
                  <c:v>86.838162276933431</c:v>
                </c:pt>
                <c:pt idx="140">
                  <c:v>90.017208680135226</c:v>
                </c:pt>
                <c:pt idx="141">
                  <c:v>93.363573315084494</c:v>
                </c:pt>
                <c:pt idx="142">
                  <c:v>96.709937950033748</c:v>
                </c:pt>
                <c:pt idx="143">
                  <c:v>100.22362081673049</c:v>
                </c:pt>
                <c:pt idx="144">
                  <c:v>103.82096279930094</c:v>
                </c:pt>
                <c:pt idx="145">
                  <c:v>107.58562301361886</c:v>
                </c:pt>
                <c:pt idx="146">
                  <c:v>111.43394234381053</c:v>
                </c:pt>
                <c:pt idx="147">
                  <c:v>115.3659207898759</c:v>
                </c:pt>
                <c:pt idx="148">
                  <c:v>119.46521746768876</c:v>
                </c:pt>
                <c:pt idx="149">
                  <c:v>123.73183237724906</c:v>
                </c:pt>
                <c:pt idx="150">
                  <c:v>128.16576551855684</c:v>
                </c:pt>
                <c:pt idx="151">
                  <c:v>132.76701689161209</c:v>
                </c:pt>
                <c:pt idx="152">
                  <c:v>137.45192738054104</c:v>
                </c:pt>
                <c:pt idx="153">
                  <c:v>142.3041561012175</c:v>
                </c:pt>
                <c:pt idx="154">
                  <c:v>147.4073621695151</c:v>
                </c:pt>
                <c:pt idx="155">
                  <c:v>152.67788646956021</c:v>
                </c:pt>
                <c:pt idx="156">
                  <c:v>158.11572900135278</c:v>
                </c:pt>
                <c:pt idx="157">
                  <c:v>163.63723064901905</c:v>
                </c:pt>
                <c:pt idx="158">
                  <c:v>169.40970964430653</c:v>
                </c:pt>
                <c:pt idx="159">
                  <c:v>175.34950687134148</c:v>
                </c:pt>
                <c:pt idx="160">
                  <c:v>181.54028144599764</c:v>
                </c:pt>
                <c:pt idx="161">
                  <c:v>187.89837425240123</c:v>
                </c:pt>
                <c:pt idx="162">
                  <c:v>194.507444406426</c:v>
                </c:pt>
                <c:pt idx="163">
                  <c:v>201.2838327921983</c:v>
                </c:pt>
                <c:pt idx="164">
                  <c:v>208.39485764146548</c:v>
                </c:pt>
                <c:pt idx="165">
                  <c:v>215.67320072248012</c:v>
                </c:pt>
                <c:pt idx="166">
                  <c:v>223.286180266989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C0B-46F6-8F80-3F1CAA38401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46.765445773415976</c:v>
                </c:pt>
                <c:pt idx="123">
                  <c:v>48.940582786133</c:v>
                </c:pt>
                <c:pt idx="124">
                  <c:v>51.283038030597488</c:v>
                </c:pt>
                <c:pt idx="125">
                  <c:v>53.792811506809429</c:v>
                </c:pt>
                <c:pt idx="126">
                  <c:v>56.469903214768848</c:v>
                </c:pt>
                <c:pt idx="127">
                  <c:v>59.397972270349449</c:v>
                </c:pt>
                <c:pt idx="128">
                  <c:v>62.66067778942498</c:v>
                </c:pt>
                <c:pt idx="129">
                  <c:v>65.923383308500519</c:v>
                </c:pt>
                <c:pt idx="130">
                  <c:v>69.353407059323516</c:v>
                </c:pt>
                <c:pt idx="131">
                  <c:v>72.867089926020256</c:v>
                </c:pt>
                <c:pt idx="132">
                  <c:v>76.715409256211899</c:v>
                </c:pt>
                <c:pt idx="133">
                  <c:v>80.814705934024744</c:v>
                </c:pt>
                <c:pt idx="134">
                  <c:v>85.081320843585061</c:v>
                </c:pt>
                <c:pt idx="135">
                  <c:v>89.515253984892837</c:v>
                </c:pt>
                <c:pt idx="136">
                  <c:v>94.116505357948085</c:v>
                </c:pt>
                <c:pt idx="137">
                  <c:v>98.885074962750778</c:v>
                </c:pt>
                <c:pt idx="138">
                  <c:v>103.9882810310484</c:v>
                </c:pt>
                <c:pt idx="139">
                  <c:v>109.34246444696723</c:v>
                </c:pt>
                <c:pt idx="140">
                  <c:v>114.94762521050724</c:v>
                </c:pt>
                <c:pt idx="141">
                  <c:v>120.88742243754218</c:v>
                </c:pt>
                <c:pt idx="142">
                  <c:v>127.07819701219833</c:v>
                </c:pt>
                <c:pt idx="143">
                  <c:v>133.51994893447568</c:v>
                </c:pt>
                <c:pt idx="144">
                  <c:v>140.37999643612167</c:v>
                </c:pt>
                <c:pt idx="145">
                  <c:v>147.57468040126258</c:v>
                </c:pt>
                <c:pt idx="146">
                  <c:v>155.02034171402471</c:v>
                </c:pt>
                <c:pt idx="147">
                  <c:v>162.88429860615548</c:v>
                </c:pt>
                <c:pt idx="148">
                  <c:v>171.08289196178117</c:v>
                </c:pt>
                <c:pt idx="149">
                  <c:v>179.69978089677554</c:v>
                </c:pt>
                <c:pt idx="150">
                  <c:v>188.73496541113855</c:v>
                </c:pt>
                <c:pt idx="151">
                  <c:v>198.1884455048702</c:v>
                </c:pt>
                <c:pt idx="152">
                  <c:v>208.14388029384429</c:v>
                </c:pt>
                <c:pt idx="153">
                  <c:v>218.60126977806073</c:v>
                </c:pt>
                <c:pt idx="154">
                  <c:v>229.56061395751956</c:v>
                </c:pt>
                <c:pt idx="155">
                  <c:v>241.02191283222083</c:v>
                </c:pt>
                <c:pt idx="156">
                  <c:v>253.06882551803818</c:v>
                </c:pt>
                <c:pt idx="157">
                  <c:v>265.78501113084536</c:v>
                </c:pt>
                <c:pt idx="158">
                  <c:v>279.0868105547687</c:v>
                </c:pt>
                <c:pt idx="159">
                  <c:v>293.05788290568188</c:v>
                </c:pt>
                <c:pt idx="160">
                  <c:v>307.69822818358494</c:v>
                </c:pt>
                <c:pt idx="161">
                  <c:v>323.00784638847784</c:v>
                </c:pt>
                <c:pt idx="162">
                  <c:v>339.15405575210798</c:v>
                </c:pt>
                <c:pt idx="163">
                  <c:v>356.05319715860179</c:v>
                </c:pt>
                <c:pt idx="164">
                  <c:v>373.78892972383289</c:v>
                </c:pt>
                <c:pt idx="165">
                  <c:v>392.36125344780129</c:v>
                </c:pt>
                <c:pt idx="166">
                  <c:v>411.85382744638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C0B-46F6-8F80-3F1CAA38401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47.016423121037171</c:v>
                </c:pt>
                <c:pt idx="123">
                  <c:v>49.609855713122855</c:v>
                </c:pt>
                <c:pt idx="124">
                  <c:v>52.454265652829726</c:v>
                </c:pt>
                <c:pt idx="125">
                  <c:v>55.549652940157799</c:v>
                </c:pt>
                <c:pt idx="126">
                  <c:v>59.063335806854525</c:v>
                </c:pt>
                <c:pt idx="127">
                  <c:v>62.995314252919911</c:v>
                </c:pt>
                <c:pt idx="128">
                  <c:v>67.512906510101416</c:v>
                </c:pt>
                <c:pt idx="129">
                  <c:v>72.030498767282936</c:v>
                </c:pt>
                <c:pt idx="130">
                  <c:v>76.715409256211899</c:v>
                </c:pt>
                <c:pt idx="131">
                  <c:v>81.651297092762064</c:v>
                </c:pt>
                <c:pt idx="132">
                  <c:v>87.089139624554619</c:v>
                </c:pt>
                <c:pt idx="133">
                  <c:v>92.861618619842105</c:v>
                </c:pt>
                <c:pt idx="134">
                  <c:v>99.052393194498251</c:v>
                </c:pt>
                <c:pt idx="135">
                  <c:v>105.5778042326493</c:v>
                </c:pt>
                <c:pt idx="136">
                  <c:v>112.43785173429531</c:v>
                </c:pt>
                <c:pt idx="137">
                  <c:v>119.71619481530996</c:v>
                </c:pt>
                <c:pt idx="138">
                  <c:v>127.58015170744072</c:v>
                </c:pt>
                <c:pt idx="139">
                  <c:v>135.94606329481388</c:v>
                </c:pt>
                <c:pt idx="140">
                  <c:v>144.89758869330316</c:v>
                </c:pt>
                <c:pt idx="141">
                  <c:v>154.35106878703485</c:v>
                </c:pt>
                <c:pt idx="142">
                  <c:v>164.30650357600891</c:v>
                </c:pt>
                <c:pt idx="143">
                  <c:v>174.93121129197283</c:v>
                </c:pt>
                <c:pt idx="144">
                  <c:v>186.30885105080031</c:v>
                </c:pt>
                <c:pt idx="145">
                  <c:v>198.43942285249142</c:v>
                </c:pt>
                <c:pt idx="146">
                  <c:v>211.32292669704609</c:v>
                </c:pt>
                <c:pt idx="147">
                  <c:v>224.95936258446432</c:v>
                </c:pt>
                <c:pt idx="148">
                  <c:v>239.43238963061992</c:v>
                </c:pt>
                <c:pt idx="149">
                  <c:v>254.90932606726025</c:v>
                </c:pt>
                <c:pt idx="150">
                  <c:v>271.30651277851166</c:v>
                </c:pt>
                <c:pt idx="151">
                  <c:v>288.79126799612158</c:v>
                </c:pt>
                <c:pt idx="152">
                  <c:v>307.36359172008997</c:v>
                </c:pt>
                <c:pt idx="153">
                  <c:v>327.10714306629063</c:v>
                </c:pt>
                <c:pt idx="154">
                  <c:v>348.10558115059729</c:v>
                </c:pt>
                <c:pt idx="155">
                  <c:v>370.44256508888361</c:v>
                </c:pt>
                <c:pt idx="156">
                  <c:v>394.20175399702345</c:v>
                </c:pt>
                <c:pt idx="157">
                  <c:v>419.46680699089035</c:v>
                </c:pt>
                <c:pt idx="158">
                  <c:v>446.32138318635822</c:v>
                </c:pt>
                <c:pt idx="159">
                  <c:v>474.84914169930067</c:v>
                </c:pt>
                <c:pt idx="160">
                  <c:v>505.21740076146523</c:v>
                </c:pt>
                <c:pt idx="161">
                  <c:v>537.50981948872561</c:v>
                </c:pt>
                <c:pt idx="162">
                  <c:v>571.89371611282945</c:v>
                </c:pt>
                <c:pt idx="163">
                  <c:v>608.45274974965002</c:v>
                </c:pt>
                <c:pt idx="164">
                  <c:v>647.35423863093536</c:v>
                </c:pt>
                <c:pt idx="165">
                  <c:v>688.68184187255872</c:v>
                </c:pt>
                <c:pt idx="166">
                  <c:v>732.68653682214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0B-46F6-8F80-3F1CAA38401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47.016423121037171</c:v>
                </c:pt>
                <c:pt idx="123">
                  <c:v>49.609855713122855</c:v>
                </c:pt>
                <c:pt idx="124">
                  <c:v>52.454265652829726</c:v>
                </c:pt>
                <c:pt idx="125">
                  <c:v>55.549652940157799</c:v>
                </c:pt>
                <c:pt idx="126">
                  <c:v>59.063335806854525</c:v>
                </c:pt>
                <c:pt idx="127">
                  <c:v>62.995314252919911</c:v>
                </c:pt>
                <c:pt idx="128">
                  <c:v>67.512906510101416</c:v>
                </c:pt>
                <c:pt idx="129">
                  <c:v>72.030498767282936</c:v>
                </c:pt>
                <c:pt idx="130">
                  <c:v>76.715409256211899</c:v>
                </c:pt>
                <c:pt idx="131">
                  <c:v>81.651297092762064</c:v>
                </c:pt>
                <c:pt idx="132">
                  <c:v>87.089139624554619</c:v>
                </c:pt>
                <c:pt idx="133">
                  <c:v>93.949187126200613</c:v>
                </c:pt>
                <c:pt idx="134">
                  <c:v>101.89680313420513</c:v>
                </c:pt>
                <c:pt idx="135">
                  <c:v>110.59735118507321</c:v>
                </c:pt>
                <c:pt idx="136">
                  <c:v>119.88351304705741</c:v>
                </c:pt>
                <c:pt idx="137">
                  <c:v>130.34090253127385</c:v>
                </c:pt>
                <c:pt idx="138">
                  <c:v>142.3041561012175</c:v>
                </c:pt>
                <c:pt idx="139">
                  <c:v>155.94059198863573</c:v>
                </c:pt>
                <c:pt idx="140">
                  <c:v>170.24630080304385</c:v>
                </c:pt>
                <c:pt idx="141">
                  <c:v>185.47225989206302</c:v>
                </c:pt>
                <c:pt idx="142">
                  <c:v>202.03676483506189</c:v>
                </c:pt>
                <c:pt idx="143">
                  <c:v>220.44177032728282</c:v>
                </c:pt>
                <c:pt idx="144">
                  <c:v>240.77093548459959</c:v>
                </c:pt>
                <c:pt idx="145">
                  <c:v>262.94060119113851</c:v>
                </c:pt>
                <c:pt idx="146">
                  <c:v>286.86710833102575</c:v>
                </c:pt>
                <c:pt idx="147">
                  <c:v>312.71777513600881</c:v>
                </c:pt>
                <c:pt idx="148">
                  <c:v>340.99455630133014</c:v>
                </c:pt>
                <c:pt idx="149">
                  <c:v>371.94842917461079</c:v>
                </c:pt>
                <c:pt idx="150">
                  <c:v>405.91403021934588</c:v>
                </c:pt>
                <c:pt idx="151">
                  <c:v>442.80770031966148</c:v>
                </c:pt>
                <c:pt idx="152">
                  <c:v>482.88041682317896</c:v>
                </c:pt>
                <c:pt idx="153">
                  <c:v>526.55047530926686</c:v>
                </c:pt>
                <c:pt idx="154">
                  <c:v>567.96173766676407</c:v>
                </c:pt>
                <c:pt idx="155">
                  <c:v>609.62397737188235</c:v>
                </c:pt>
                <c:pt idx="156">
                  <c:v>653.12671762622278</c:v>
                </c:pt>
                <c:pt idx="157">
                  <c:v>699.22289047264883</c:v>
                </c:pt>
                <c:pt idx="158">
                  <c:v>746.57395005718104</c:v>
                </c:pt>
                <c:pt idx="159">
                  <c:v>794.34330522108166</c:v>
                </c:pt>
                <c:pt idx="160">
                  <c:v>842.11266038498252</c:v>
                </c:pt>
                <c:pt idx="161">
                  <c:v>895.82181277591826</c:v>
                </c:pt>
                <c:pt idx="162">
                  <c:v>954.46685300340403</c:v>
                </c:pt>
                <c:pt idx="163">
                  <c:v>1016.8765534452079</c:v>
                </c:pt>
                <c:pt idx="164">
                  <c:v>1081.7960273632236</c:v>
                </c:pt>
                <c:pt idx="165">
                  <c:v>1149.894547684441</c:v>
                </c:pt>
                <c:pt idx="166">
                  <c:v>1222.2596829152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C0B-46F6-8F80-3F1CAA384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7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31</c:v>
                </c:pt>
                <c:pt idx="1">
                  <c:v>40</c:v>
                </c:pt>
                <c:pt idx="2">
                  <c:v>180</c:v>
                </c:pt>
                <c:pt idx="3">
                  <c:v>118</c:v>
                </c:pt>
                <c:pt idx="4">
                  <c:v>117</c:v>
                </c:pt>
                <c:pt idx="5">
                  <c:v>74</c:v>
                </c:pt>
                <c:pt idx="6">
                  <c:v>72</c:v>
                </c:pt>
                <c:pt idx="7">
                  <c:v>6</c:v>
                </c:pt>
                <c:pt idx="8">
                  <c:v>29</c:v>
                </c:pt>
                <c:pt idx="9">
                  <c:v>139</c:v>
                </c:pt>
                <c:pt idx="10">
                  <c:v>96</c:v>
                </c:pt>
                <c:pt idx="11">
                  <c:v>94</c:v>
                </c:pt>
                <c:pt idx="12">
                  <c:v>64</c:v>
                </c:pt>
                <c:pt idx="13">
                  <c:v>60</c:v>
                </c:pt>
                <c:pt idx="14">
                  <c:v>19</c:v>
                </c:pt>
                <c:pt idx="15">
                  <c:v>21</c:v>
                </c:pt>
                <c:pt idx="16">
                  <c:v>102</c:v>
                </c:pt>
                <c:pt idx="17">
                  <c:v>90</c:v>
                </c:pt>
                <c:pt idx="18">
                  <c:v>82</c:v>
                </c:pt>
                <c:pt idx="19">
                  <c:v>55</c:v>
                </c:pt>
                <c:pt idx="20">
                  <c:v>47</c:v>
                </c:pt>
                <c:pt idx="21">
                  <c:v>13</c:v>
                </c:pt>
                <c:pt idx="22">
                  <c:v>28</c:v>
                </c:pt>
                <c:pt idx="23">
                  <c:v>59</c:v>
                </c:pt>
                <c:pt idx="24">
                  <c:v>60</c:v>
                </c:pt>
                <c:pt idx="25">
                  <c:v>62</c:v>
                </c:pt>
                <c:pt idx="26">
                  <c:v>36</c:v>
                </c:pt>
                <c:pt idx="27">
                  <c:v>22</c:v>
                </c:pt>
                <c:pt idx="28">
                  <c:v>21</c:v>
                </c:pt>
                <c:pt idx="29">
                  <c:v>12</c:v>
                </c:pt>
                <c:pt idx="30">
                  <c:v>39</c:v>
                </c:pt>
                <c:pt idx="31">
                  <c:v>25</c:v>
                </c:pt>
                <c:pt idx="32">
                  <c:v>17</c:v>
                </c:pt>
                <c:pt idx="33">
                  <c:v>20</c:v>
                </c:pt>
                <c:pt idx="34">
                  <c:v>13</c:v>
                </c:pt>
                <c:pt idx="35">
                  <c:v>10</c:v>
                </c:pt>
                <c:pt idx="36">
                  <c:v>6</c:v>
                </c:pt>
                <c:pt idx="37">
                  <c:v>16</c:v>
                </c:pt>
                <c:pt idx="38">
                  <c:v>21</c:v>
                </c:pt>
                <c:pt idx="39">
                  <c:v>14</c:v>
                </c:pt>
                <c:pt idx="40">
                  <c:v>8</c:v>
                </c:pt>
                <c:pt idx="41">
                  <c:v>12</c:v>
                </c:pt>
                <c:pt idx="42">
                  <c:v>2</c:v>
                </c:pt>
                <c:pt idx="43">
                  <c:v>6</c:v>
                </c:pt>
                <c:pt idx="44">
                  <c:v>9</c:v>
                </c:pt>
                <c:pt idx="45">
                  <c:v>7</c:v>
                </c:pt>
                <c:pt idx="46">
                  <c:v>4</c:v>
                </c:pt>
                <c:pt idx="47">
                  <c:v>4</c:v>
                </c:pt>
                <c:pt idx="48">
                  <c:v>6</c:v>
                </c:pt>
                <c:pt idx="49">
                  <c:v>1</c:v>
                </c:pt>
                <c:pt idx="50">
                  <c:v>1</c:v>
                </c:pt>
                <c:pt idx="51">
                  <c:v>4</c:v>
                </c:pt>
                <c:pt idx="52">
                  <c:v>0</c:v>
                </c:pt>
                <c:pt idx="53">
                  <c:v>3</c:v>
                </c:pt>
                <c:pt idx="54">
                  <c:v>3</c:v>
                </c:pt>
                <c:pt idx="55">
                  <c:v>1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2</c:v>
                </c:pt>
                <c:pt idx="60">
                  <c:v>2</c:v>
                </c:pt>
                <c:pt idx="61">
                  <c:v>5</c:v>
                </c:pt>
                <c:pt idx="62">
                  <c:v>0</c:v>
                </c:pt>
                <c:pt idx="63">
                  <c:v>5</c:v>
                </c:pt>
                <c:pt idx="64">
                  <c:v>0</c:v>
                </c:pt>
                <c:pt idx="65">
                  <c:v>2</c:v>
                </c:pt>
                <c:pt idx="66">
                  <c:v>2</c:v>
                </c:pt>
                <c:pt idx="67">
                  <c:v>7</c:v>
                </c:pt>
                <c:pt idx="68">
                  <c:v>12</c:v>
                </c:pt>
                <c:pt idx="69">
                  <c:v>1</c:v>
                </c:pt>
                <c:pt idx="70">
                  <c:v>2</c:v>
                </c:pt>
                <c:pt idx="71">
                  <c:v>1</c:v>
                </c:pt>
                <c:pt idx="72">
                  <c:v>4</c:v>
                </c:pt>
                <c:pt idx="73">
                  <c:v>8</c:v>
                </c:pt>
                <c:pt idx="74">
                  <c:v>3</c:v>
                </c:pt>
                <c:pt idx="75">
                  <c:v>7</c:v>
                </c:pt>
                <c:pt idx="76">
                  <c:v>9</c:v>
                </c:pt>
                <c:pt idx="77">
                  <c:v>3</c:v>
                </c:pt>
                <c:pt idx="78">
                  <c:v>1</c:v>
                </c:pt>
                <c:pt idx="79">
                  <c:v>7</c:v>
                </c:pt>
                <c:pt idx="80">
                  <c:v>6</c:v>
                </c:pt>
                <c:pt idx="81">
                  <c:v>6</c:v>
                </c:pt>
                <c:pt idx="82">
                  <c:v>4</c:v>
                </c:pt>
                <c:pt idx="83">
                  <c:v>4</c:v>
                </c:pt>
                <c:pt idx="84">
                  <c:v>3</c:v>
                </c:pt>
                <c:pt idx="85">
                  <c:v>1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5</c:v>
                </c:pt>
                <c:pt idx="90">
                  <c:v>5</c:v>
                </c:pt>
                <c:pt idx="91">
                  <c:v>3</c:v>
                </c:pt>
                <c:pt idx="92">
                  <c:v>1</c:v>
                </c:pt>
                <c:pt idx="93">
                  <c:v>4</c:v>
                </c:pt>
                <c:pt idx="94">
                  <c:v>12</c:v>
                </c:pt>
                <c:pt idx="95">
                  <c:v>14</c:v>
                </c:pt>
                <c:pt idx="96">
                  <c:v>8</c:v>
                </c:pt>
                <c:pt idx="97">
                  <c:v>13</c:v>
                </c:pt>
                <c:pt idx="98">
                  <c:v>14</c:v>
                </c:pt>
                <c:pt idx="99">
                  <c:v>21</c:v>
                </c:pt>
                <c:pt idx="100">
                  <c:v>8</c:v>
                </c:pt>
                <c:pt idx="101">
                  <c:v>4</c:v>
                </c:pt>
                <c:pt idx="102">
                  <c:v>10</c:v>
                </c:pt>
                <c:pt idx="103">
                  <c:v>8</c:v>
                </c:pt>
                <c:pt idx="104">
                  <c:v>5</c:v>
                </c:pt>
                <c:pt idx="105">
                  <c:v>5</c:v>
                </c:pt>
                <c:pt idx="106">
                  <c:v>1</c:v>
                </c:pt>
                <c:pt idx="107">
                  <c:v>7</c:v>
                </c:pt>
                <c:pt idx="108">
                  <c:v>14</c:v>
                </c:pt>
                <c:pt idx="109">
                  <c:v>8</c:v>
                </c:pt>
                <c:pt idx="110">
                  <c:v>4</c:v>
                </c:pt>
                <c:pt idx="111">
                  <c:v>3</c:v>
                </c:pt>
                <c:pt idx="112">
                  <c:v>5</c:v>
                </c:pt>
                <c:pt idx="113">
                  <c:v>1</c:v>
                </c:pt>
                <c:pt idx="114">
                  <c:v>2</c:v>
                </c:pt>
                <c:pt idx="115">
                  <c:v>4</c:v>
                </c:pt>
                <c:pt idx="116">
                  <c:v>5</c:v>
                </c:pt>
                <c:pt idx="117">
                  <c:v>7</c:v>
                </c:pt>
                <c:pt idx="118">
                  <c:v>7</c:v>
                </c:pt>
                <c:pt idx="119">
                  <c:v>6</c:v>
                </c:pt>
                <c:pt idx="120">
                  <c:v>2</c:v>
                </c:pt>
                <c:pt idx="121">
                  <c:v>10</c:v>
                </c:pt>
                <c:pt idx="122">
                  <c:v>17</c:v>
                </c:pt>
                <c:pt idx="123">
                  <c:v>15</c:v>
                </c:pt>
                <c:pt idx="124">
                  <c:v>10</c:v>
                </c:pt>
                <c:pt idx="125">
                  <c:v>9</c:v>
                </c:pt>
                <c:pt idx="126">
                  <c:v>4</c:v>
                </c:pt>
                <c:pt idx="127">
                  <c:v>4</c:v>
                </c:pt>
                <c:pt idx="128">
                  <c:v>9</c:v>
                </c:pt>
                <c:pt idx="129">
                  <c:v>13</c:v>
                </c:pt>
                <c:pt idx="130">
                  <c:v>16</c:v>
                </c:pt>
                <c:pt idx="131">
                  <c:v>12</c:v>
                </c:pt>
                <c:pt idx="132">
                  <c:v>9</c:v>
                </c:pt>
                <c:pt idx="133">
                  <c:v>5</c:v>
                </c:pt>
                <c:pt idx="134">
                  <c:v>7</c:v>
                </c:pt>
                <c:pt idx="135">
                  <c:v>13</c:v>
                </c:pt>
                <c:pt idx="136">
                  <c:v>20</c:v>
                </c:pt>
                <c:pt idx="137">
                  <c:v>15</c:v>
                </c:pt>
                <c:pt idx="138">
                  <c:v>23</c:v>
                </c:pt>
                <c:pt idx="139">
                  <c:v>13</c:v>
                </c:pt>
                <c:pt idx="140">
                  <c:v>30</c:v>
                </c:pt>
                <c:pt idx="141">
                  <c:v>3</c:v>
                </c:pt>
                <c:pt idx="142">
                  <c:v>7</c:v>
                </c:pt>
                <c:pt idx="143">
                  <c:v>19</c:v>
                </c:pt>
                <c:pt idx="144">
                  <c:v>13</c:v>
                </c:pt>
                <c:pt idx="145">
                  <c:v>22</c:v>
                </c:pt>
                <c:pt idx="146">
                  <c:v>17</c:v>
                </c:pt>
                <c:pt idx="147">
                  <c:v>26</c:v>
                </c:pt>
                <c:pt idx="148">
                  <c:v>11</c:v>
                </c:pt>
                <c:pt idx="149">
                  <c:v>24</c:v>
                </c:pt>
                <c:pt idx="150">
                  <c:v>28</c:v>
                </c:pt>
                <c:pt idx="151">
                  <c:v>30</c:v>
                </c:pt>
                <c:pt idx="152">
                  <c:v>61</c:v>
                </c:pt>
                <c:pt idx="153">
                  <c:v>49</c:v>
                </c:pt>
                <c:pt idx="154">
                  <c:v>29</c:v>
                </c:pt>
                <c:pt idx="155">
                  <c:v>11</c:v>
                </c:pt>
                <c:pt idx="156">
                  <c:v>48</c:v>
                </c:pt>
                <c:pt idx="157">
                  <c:v>46</c:v>
                </c:pt>
                <c:pt idx="158">
                  <c:v>84</c:v>
                </c:pt>
                <c:pt idx="159">
                  <c:v>77</c:v>
                </c:pt>
                <c:pt idx="160">
                  <c:v>46</c:v>
                </c:pt>
                <c:pt idx="161">
                  <c:v>35</c:v>
                </c:pt>
                <c:pt idx="162">
                  <c:v>12</c:v>
                </c:pt>
                <c:pt idx="163">
                  <c:v>99</c:v>
                </c:pt>
                <c:pt idx="164">
                  <c:v>123</c:v>
                </c:pt>
                <c:pt idx="165">
                  <c:v>137</c:v>
                </c:pt>
                <c:pt idx="166">
                  <c:v>149</c:v>
                </c:pt>
                <c:pt idx="167">
                  <c:v>160</c:v>
                </c:pt>
                <c:pt idx="168">
                  <c:v>125</c:v>
                </c:pt>
                <c:pt idx="169">
                  <c:v>46</c:v>
                </c:pt>
                <c:pt idx="170">
                  <c:v>191</c:v>
                </c:pt>
                <c:pt idx="171">
                  <c:v>313</c:v>
                </c:pt>
                <c:pt idx="172">
                  <c:v>239</c:v>
                </c:pt>
                <c:pt idx="173">
                  <c:v>351</c:v>
                </c:pt>
                <c:pt idx="174">
                  <c:v>417</c:v>
                </c:pt>
                <c:pt idx="175">
                  <c:v>289</c:v>
                </c:pt>
                <c:pt idx="176">
                  <c:v>134</c:v>
                </c:pt>
                <c:pt idx="177">
                  <c:v>263</c:v>
                </c:pt>
                <c:pt idx="178">
                  <c:v>590</c:v>
                </c:pt>
                <c:pt idx="179">
                  <c:v>556</c:v>
                </c:pt>
                <c:pt idx="180">
                  <c:v>318</c:v>
                </c:pt>
                <c:pt idx="181">
                  <c:v>524</c:v>
                </c:pt>
                <c:pt idx="182">
                  <c:v>375</c:v>
                </c:pt>
                <c:pt idx="183">
                  <c:v>204</c:v>
                </c:pt>
                <c:pt idx="184">
                  <c:v>725</c:v>
                </c:pt>
                <c:pt idx="185">
                  <c:v>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FF-47AF-8B33-C07C3C8439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40</c:v>
                </c:pt>
                <c:pt idx="154">
                  <c:v>41</c:v>
                </c:pt>
                <c:pt idx="155">
                  <c:v>43</c:v>
                </c:pt>
                <c:pt idx="156">
                  <c:v>44</c:v>
                </c:pt>
                <c:pt idx="157">
                  <c:v>46</c:v>
                </c:pt>
                <c:pt idx="158">
                  <c:v>48</c:v>
                </c:pt>
                <c:pt idx="159">
                  <c:v>49</c:v>
                </c:pt>
                <c:pt idx="160">
                  <c:v>51</c:v>
                </c:pt>
                <c:pt idx="161">
                  <c:v>53</c:v>
                </c:pt>
                <c:pt idx="162">
                  <c:v>55</c:v>
                </c:pt>
                <c:pt idx="163">
                  <c:v>57</c:v>
                </c:pt>
                <c:pt idx="164">
                  <c:v>59</c:v>
                </c:pt>
                <c:pt idx="165">
                  <c:v>62</c:v>
                </c:pt>
                <c:pt idx="166">
                  <c:v>64</c:v>
                </c:pt>
                <c:pt idx="167">
                  <c:v>66</c:v>
                </c:pt>
                <c:pt idx="168">
                  <c:v>69</c:v>
                </c:pt>
                <c:pt idx="169">
                  <c:v>71</c:v>
                </c:pt>
                <c:pt idx="170">
                  <c:v>74</c:v>
                </c:pt>
                <c:pt idx="171">
                  <c:v>76</c:v>
                </c:pt>
                <c:pt idx="172">
                  <c:v>79</c:v>
                </c:pt>
                <c:pt idx="173">
                  <c:v>82</c:v>
                </c:pt>
                <c:pt idx="174">
                  <c:v>85</c:v>
                </c:pt>
                <c:pt idx="175">
                  <c:v>88</c:v>
                </c:pt>
                <c:pt idx="176">
                  <c:v>91</c:v>
                </c:pt>
                <c:pt idx="177">
                  <c:v>95</c:v>
                </c:pt>
                <c:pt idx="178">
                  <c:v>98</c:v>
                </c:pt>
                <c:pt idx="179">
                  <c:v>101</c:v>
                </c:pt>
                <c:pt idx="180">
                  <c:v>105</c:v>
                </c:pt>
                <c:pt idx="181">
                  <c:v>109</c:v>
                </c:pt>
                <c:pt idx="182">
                  <c:v>113</c:v>
                </c:pt>
                <c:pt idx="183">
                  <c:v>117</c:v>
                </c:pt>
                <c:pt idx="184">
                  <c:v>121</c:v>
                </c:pt>
                <c:pt idx="185">
                  <c:v>125</c:v>
                </c:pt>
                <c:pt idx="186">
                  <c:v>129</c:v>
                </c:pt>
                <c:pt idx="187">
                  <c:v>134</c:v>
                </c:pt>
                <c:pt idx="188">
                  <c:v>139</c:v>
                </c:pt>
                <c:pt idx="189">
                  <c:v>144</c:v>
                </c:pt>
                <c:pt idx="190">
                  <c:v>149</c:v>
                </c:pt>
                <c:pt idx="191">
                  <c:v>154</c:v>
                </c:pt>
                <c:pt idx="192">
                  <c:v>159</c:v>
                </c:pt>
                <c:pt idx="193">
                  <c:v>165</c:v>
                </c:pt>
                <c:pt idx="194">
                  <c:v>171</c:v>
                </c:pt>
                <c:pt idx="195">
                  <c:v>177</c:v>
                </c:pt>
                <c:pt idx="196">
                  <c:v>183</c:v>
                </c:pt>
                <c:pt idx="197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FF-47AF-8B33-C07C3C8439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41</c:v>
                </c:pt>
                <c:pt idx="154">
                  <c:v>44</c:v>
                </c:pt>
                <c:pt idx="155">
                  <c:v>46</c:v>
                </c:pt>
                <c:pt idx="156">
                  <c:v>48</c:v>
                </c:pt>
                <c:pt idx="157">
                  <c:v>50</c:v>
                </c:pt>
                <c:pt idx="158">
                  <c:v>53</c:v>
                </c:pt>
                <c:pt idx="159">
                  <c:v>56</c:v>
                </c:pt>
                <c:pt idx="160">
                  <c:v>59</c:v>
                </c:pt>
                <c:pt idx="161">
                  <c:v>62</c:v>
                </c:pt>
                <c:pt idx="162">
                  <c:v>65</c:v>
                </c:pt>
                <c:pt idx="163">
                  <c:v>68</c:v>
                </c:pt>
                <c:pt idx="164">
                  <c:v>72</c:v>
                </c:pt>
                <c:pt idx="165">
                  <c:v>76</c:v>
                </c:pt>
                <c:pt idx="166">
                  <c:v>79</c:v>
                </c:pt>
                <c:pt idx="167">
                  <c:v>83</c:v>
                </c:pt>
                <c:pt idx="168">
                  <c:v>88</c:v>
                </c:pt>
                <c:pt idx="169">
                  <c:v>92</c:v>
                </c:pt>
                <c:pt idx="170">
                  <c:v>97</c:v>
                </c:pt>
                <c:pt idx="171">
                  <c:v>102</c:v>
                </c:pt>
                <c:pt idx="172">
                  <c:v>107</c:v>
                </c:pt>
                <c:pt idx="173">
                  <c:v>112</c:v>
                </c:pt>
                <c:pt idx="174">
                  <c:v>118</c:v>
                </c:pt>
                <c:pt idx="175">
                  <c:v>124</c:v>
                </c:pt>
                <c:pt idx="176">
                  <c:v>130</c:v>
                </c:pt>
                <c:pt idx="177">
                  <c:v>137</c:v>
                </c:pt>
                <c:pt idx="178">
                  <c:v>144</c:v>
                </c:pt>
                <c:pt idx="179">
                  <c:v>151</c:v>
                </c:pt>
                <c:pt idx="180">
                  <c:v>159</c:v>
                </c:pt>
                <c:pt idx="181">
                  <c:v>167</c:v>
                </c:pt>
                <c:pt idx="182">
                  <c:v>175</c:v>
                </c:pt>
                <c:pt idx="183">
                  <c:v>184</c:v>
                </c:pt>
                <c:pt idx="184">
                  <c:v>193</c:v>
                </c:pt>
                <c:pt idx="185">
                  <c:v>203</c:v>
                </c:pt>
                <c:pt idx="186">
                  <c:v>213</c:v>
                </c:pt>
                <c:pt idx="187">
                  <c:v>223</c:v>
                </c:pt>
                <c:pt idx="188">
                  <c:v>235</c:v>
                </c:pt>
                <c:pt idx="189">
                  <c:v>246</c:v>
                </c:pt>
                <c:pt idx="190">
                  <c:v>259</c:v>
                </c:pt>
                <c:pt idx="191">
                  <c:v>271</c:v>
                </c:pt>
                <c:pt idx="192">
                  <c:v>285</c:v>
                </c:pt>
                <c:pt idx="193">
                  <c:v>299</c:v>
                </c:pt>
                <c:pt idx="194">
                  <c:v>314</c:v>
                </c:pt>
                <c:pt idx="195">
                  <c:v>330</c:v>
                </c:pt>
                <c:pt idx="196">
                  <c:v>346</c:v>
                </c:pt>
                <c:pt idx="197">
                  <c:v>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9FF-47AF-8B33-C07C3C8439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43</c:v>
                </c:pt>
                <c:pt idx="154">
                  <c:v>46</c:v>
                </c:pt>
                <c:pt idx="155">
                  <c:v>49</c:v>
                </c:pt>
                <c:pt idx="156">
                  <c:v>51</c:v>
                </c:pt>
                <c:pt idx="157">
                  <c:v>54</c:v>
                </c:pt>
                <c:pt idx="158">
                  <c:v>58</c:v>
                </c:pt>
                <c:pt idx="159">
                  <c:v>62</c:v>
                </c:pt>
                <c:pt idx="160">
                  <c:v>67</c:v>
                </c:pt>
                <c:pt idx="161">
                  <c:v>71</c:v>
                </c:pt>
                <c:pt idx="162">
                  <c:v>75</c:v>
                </c:pt>
                <c:pt idx="163">
                  <c:v>80</c:v>
                </c:pt>
                <c:pt idx="164">
                  <c:v>85</c:v>
                </c:pt>
                <c:pt idx="165">
                  <c:v>91</c:v>
                </c:pt>
                <c:pt idx="166">
                  <c:v>97</c:v>
                </c:pt>
                <c:pt idx="167">
                  <c:v>103</c:v>
                </c:pt>
                <c:pt idx="168">
                  <c:v>110</c:v>
                </c:pt>
                <c:pt idx="169">
                  <c:v>117</c:v>
                </c:pt>
                <c:pt idx="170">
                  <c:v>125</c:v>
                </c:pt>
                <c:pt idx="171">
                  <c:v>133</c:v>
                </c:pt>
                <c:pt idx="172">
                  <c:v>142</c:v>
                </c:pt>
                <c:pt idx="173">
                  <c:v>151</c:v>
                </c:pt>
                <c:pt idx="174">
                  <c:v>160</c:v>
                </c:pt>
                <c:pt idx="175">
                  <c:v>171</c:v>
                </c:pt>
                <c:pt idx="176">
                  <c:v>182</c:v>
                </c:pt>
                <c:pt idx="177">
                  <c:v>194</c:v>
                </c:pt>
                <c:pt idx="178">
                  <c:v>206</c:v>
                </c:pt>
                <c:pt idx="179">
                  <c:v>219</c:v>
                </c:pt>
                <c:pt idx="180">
                  <c:v>233</c:v>
                </c:pt>
                <c:pt idx="181">
                  <c:v>248</c:v>
                </c:pt>
                <c:pt idx="182">
                  <c:v>265</c:v>
                </c:pt>
                <c:pt idx="183">
                  <c:v>281</c:v>
                </c:pt>
                <c:pt idx="184">
                  <c:v>300</c:v>
                </c:pt>
                <c:pt idx="185">
                  <c:v>319</c:v>
                </c:pt>
                <c:pt idx="186">
                  <c:v>339</c:v>
                </c:pt>
                <c:pt idx="187">
                  <c:v>361</c:v>
                </c:pt>
                <c:pt idx="188">
                  <c:v>384</c:v>
                </c:pt>
                <c:pt idx="189">
                  <c:v>409</c:v>
                </c:pt>
                <c:pt idx="190">
                  <c:v>435</c:v>
                </c:pt>
                <c:pt idx="191">
                  <c:v>462</c:v>
                </c:pt>
                <c:pt idx="192">
                  <c:v>492</c:v>
                </c:pt>
                <c:pt idx="193">
                  <c:v>523</c:v>
                </c:pt>
                <c:pt idx="194">
                  <c:v>557</c:v>
                </c:pt>
                <c:pt idx="195">
                  <c:v>592</c:v>
                </c:pt>
                <c:pt idx="196">
                  <c:v>630</c:v>
                </c:pt>
                <c:pt idx="197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9FF-47AF-8B33-C07C3C8439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43</c:v>
                </c:pt>
                <c:pt idx="154">
                  <c:v>46</c:v>
                </c:pt>
                <c:pt idx="155">
                  <c:v>49</c:v>
                </c:pt>
                <c:pt idx="156">
                  <c:v>51</c:v>
                </c:pt>
                <c:pt idx="157">
                  <c:v>54</c:v>
                </c:pt>
                <c:pt idx="158">
                  <c:v>58</c:v>
                </c:pt>
                <c:pt idx="159">
                  <c:v>62</c:v>
                </c:pt>
                <c:pt idx="160">
                  <c:v>67</c:v>
                </c:pt>
                <c:pt idx="161">
                  <c:v>71</c:v>
                </c:pt>
                <c:pt idx="162">
                  <c:v>75</c:v>
                </c:pt>
                <c:pt idx="163">
                  <c:v>80</c:v>
                </c:pt>
                <c:pt idx="164">
                  <c:v>91</c:v>
                </c:pt>
                <c:pt idx="165">
                  <c:v>100</c:v>
                </c:pt>
                <c:pt idx="166">
                  <c:v>109</c:v>
                </c:pt>
                <c:pt idx="167">
                  <c:v>117</c:v>
                </c:pt>
                <c:pt idx="168">
                  <c:v>127</c:v>
                </c:pt>
                <c:pt idx="169">
                  <c:v>139</c:v>
                </c:pt>
                <c:pt idx="170">
                  <c:v>153</c:v>
                </c:pt>
                <c:pt idx="171">
                  <c:v>168</c:v>
                </c:pt>
                <c:pt idx="172">
                  <c:v>182</c:v>
                </c:pt>
                <c:pt idx="173">
                  <c:v>198</c:v>
                </c:pt>
                <c:pt idx="174">
                  <c:v>215</c:v>
                </c:pt>
                <c:pt idx="175">
                  <c:v>236</c:v>
                </c:pt>
                <c:pt idx="176">
                  <c:v>258</c:v>
                </c:pt>
                <c:pt idx="177">
                  <c:v>281</c:v>
                </c:pt>
                <c:pt idx="178">
                  <c:v>306</c:v>
                </c:pt>
                <c:pt idx="179">
                  <c:v>334</c:v>
                </c:pt>
                <c:pt idx="180">
                  <c:v>364</c:v>
                </c:pt>
                <c:pt idx="181">
                  <c:v>397</c:v>
                </c:pt>
                <c:pt idx="182">
                  <c:v>434</c:v>
                </c:pt>
                <c:pt idx="183">
                  <c:v>473</c:v>
                </c:pt>
                <c:pt idx="184">
                  <c:v>515</c:v>
                </c:pt>
                <c:pt idx="185">
                  <c:v>528</c:v>
                </c:pt>
                <c:pt idx="186">
                  <c:v>557</c:v>
                </c:pt>
                <c:pt idx="187">
                  <c:v>597</c:v>
                </c:pt>
                <c:pt idx="188">
                  <c:v>645</c:v>
                </c:pt>
                <c:pt idx="189">
                  <c:v>687</c:v>
                </c:pt>
                <c:pt idx="190">
                  <c:v>729</c:v>
                </c:pt>
                <c:pt idx="191">
                  <c:v>771</c:v>
                </c:pt>
                <c:pt idx="192">
                  <c:v>816</c:v>
                </c:pt>
                <c:pt idx="193">
                  <c:v>872</c:v>
                </c:pt>
                <c:pt idx="194">
                  <c:v>932</c:v>
                </c:pt>
                <c:pt idx="195">
                  <c:v>993</c:v>
                </c:pt>
                <c:pt idx="196">
                  <c:v>1053</c:v>
                </c:pt>
                <c:pt idx="197">
                  <c:v>1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9FF-47AF-8B33-C07C3C8439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EF-41E2-A2D7-553F333F2977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34.415928389493153</c:v>
                </c:pt>
                <c:pt idx="1">
                  <c:v>27.278984714252633</c:v>
                </c:pt>
                <c:pt idx="2">
                  <c:v>24.741404740833783</c:v>
                </c:pt>
                <c:pt idx="3">
                  <c:v>23.314016005785682</c:v>
                </c:pt>
                <c:pt idx="4">
                  <c:v>21.569429774060222</c:v>
                </c:pt>
                <c:pt idx="5">
                  <c:v>20.617837284028155</c:v>
                </c:pt>
                <c:pt idx="6">
                  <c:v>16.970066072238559</c:v>
                </c:pt>
                <c:pt idx="7">
                  <c:v>16.335671078883845</c:v>
                </c:pt>
                <c:pt idx="8">
                  <c:v>15.859874833867812</c:v>
                </c:pt>
                <c:pt idx="9">
                  <c:v>13.956689853803674</c:v>
                </c:pt>
                <c:pt idx="10">
                  <c:v>13.798091105464996</c:v>
                </c:pt>
                <c:pt idx="11">
                  <c:v>12.529301118755573</c:v>
                </c:pt>
                <c:pt idx="12">
                  <c:v>12.529301118755573</c:v>
                </c:pt>
                <c:pt idx="13">
                  <c:v>11.419109880384825</c:v>
                </c:pt>
                <c:pt idx="14">
                  <c:v>9.1987274036433302</c:v>
                </c:pt>
                <c:pt idx="15">
                  <c:v>7.6127399202565496</c:v>
                </c:pt>
                <c:pt idx="16">
                  <c:v>6.9783449269018369</c:v>
                </c:pt>
                <c:pt idx="17">
                  <c:v>6.026752436869768</c:v>
                </c:pt>
                <c:pt idx="18">
                  <c:v>5.8681536885310903</c:v>
                </c:pt>
                <c:pt idx="19">
                  <c:v>5.0751599468376991</c:v>
                </c:pt>
                <c:pt idx="20">
                  <c:v>4.2821662051443088</c:v>
                </c:pt>
                <c:pt idx="21">
                  <c:v>3.1719749667735622</c:v>
                </c:pt>
                <c:pt idx="22">
                  <c:v>3.013376218434884</c:v>
                </c:pt>
                <c:pt idx="23">
                  <c:v>2.8547774700962063</c:v>
                </c:pt>
                <c:pt idx="24">
                  <c:v>2.0617837284028155</c:v>
                </c:pt>
                <c:pt idx="25">
                  <c:v>2.0617837284028155</c:v>
                </c:pt>
                <c:pt idx="26">
                  <c:v>1.9031849800641374</c:v>
                </c:pt>
                <c:pt idx="27">
                  <c:v>1.2687899867094248</c:v>
                </c:pt>
                <c:pt idx="28">
                  <c:v>1.5859874833867811</c:v>
                </c:pt>
                <c:pt idx="29">
                  <c:v>1.4273887350481032</c:v>
                </c:pt>
                <c:pt idx="30">
                  <c:v>1.7445862317254592</c:v>
                </c:pt>
                <c:pt idx="31">
                  <c:v>1.5859874833867811</c:v>
                </c:pt>
                <c:pt idx="32">
                  <c:v>2.2203824767414937</c:v>
                </c:pt>
                <c:pt idx="33">
                  <c:v>2.2203824767414937</c:v>
                </c:pt>
                <c:pt idx="34">
                  <c:v>2.5375799734188496</c:v>
                </c:pt>
                <c:pt idx="35">
                  <c:v>2.5375799734188496</c:v>
                </c:pt>
                <c:pt idx="36">
                  <c:v>3.3305737151122403</c:v>
                </c:pt>
                <c:pt idx="37">
                  <c:v>4.4407649534829874</c:v>
                </c:pt>
                <c:pt idx="38">
                  <c:v>4.5993637018216651</c:v>
                </c:pt>
                <c:pt idx="39">
                  <c:v>4.1235674568056311</c:v>
                </c:pt>
                <c:pt idx="40">
                  <c:v>4.2821662051443088</c:v>
                </c:pt>
                <c:pt idx="41">
                  <c:v>4.5993637018216651</c:v>
                </c:pt>
                <c:pt idx="42">
                  <c:v>5.550956191853734</c:v>
                </c:pt>
                <c:pt idx="43">
                  <c:v>4.9165611984990214</c:v>
                </c:pt>
                <c:pt idx="44">
                  <c:v>4.1235674568056311</c:v>
                </c:pt>
                <c:pt idx="45">
                  <c:v>5.3923574435150554</c:v>
                </c:pt>
                <c:pt idx="46">
                  <c:v>5.550956191853734</c:v>
                </c:pt>
                <c:pt idx="47">
                  <c:v>5.550956191853734</c:v>
                </c:pt>
                <c:pt idx="48">
                  <c:v>6.026752436869768</c:v>
                </c:pt>
                <c:pt idx="49">
                  <c:v>5.7095549401924126</c:v>
                </c:pt>
                <c:pt idx="50">
                  <c:v>6.1853511852084457</c:v>
                </c:pt>
                <c:pt idx="51">
                  <c:v>5.7095549401924126</c:v>
                </c:pt>
                <c:pt idx="52">
                  <c:v>4.9165611984990214</c:v>
                </c:pt>
                <c:pt idx="53">
                  <c:v>4.9165611984990214</c:v>
                </c:pt>
                <c:pt idx="54">
                  <c:v>4.9165611984990214</c:v>
                </c:pt>
                <c:pt idx="55">
                  <c:v>4.2821662051443088</c:v>
                </c:pt>
                <c:pt idx="56">
                  <c:v>3.9649687084669529</c:v>
                </c:pt>
                <c:pt idx="57">
                  <c:v>3.4891724634509185</c:v>
                </c:pt>
                <c:pt idx="58">
                  <c:v>3.6477712117895966</c:v>
                </c:pt>
                <c:pt idx="59">
                  <c:v>3.8063699601282748</c:v>
                </c:pt>
                <c:pt idx="60">
                  <c:v>3.8063699601282748</c:v>
                </c:pt>
                <c:pt idx="61">
                  <c:v>3.8063699601282748</c:v>
                </c:pt>
                <c:pt idx="62">
                  <c:v>3.9649687084669529</c:v>
                </c:pt>
                <c:pt idx="63">
                  <c:v>5.2337586951763777</c:v>
                </c:pt>
                <c:pt idx="64">
                  <c:v>6.9783449269018369</c:v>
                </c:pt>
                <c:pt idx="65">
                  <c:v>7.4541411719178718</c:v>
                </c:pt>
                <c:pt idx="66">
                  <c:v>8.7229311586272971</c:v>
                </c:pt>
                <c:pt idx="67">
                  <c:v>10.467517390352755</c:v>
                </c:pt>
                <c:pt idx="68">
                  <c:v>13.639492357126317</c:v>
                </c:pt>
                <c:pt idx="69">
                  <c:v>14.273887350481029</c:v>
                </c:pt>
                <c:pt idx="70">
                  <c:v>13.005097363771604</c:v>
                </c:pt>
                <c:pt idx="71">
                  <c:v>12.370702370416891</c:v>
                </c:pt>
                <c:pt idx="72">
                  <c:v>12.370702370416891</c:v>
                </c:pt>
                <c:pt idx="73">
                  <c:v>11.101912383707468</c:v>
                </c:pt>
                <c:pt idx="74">
                  <c:v>9.6745236486593651</c:v>
                </c:pt>
                <c:pt idx="75">
                  <c:v>6.502548681885802</c:v>
                </c:pt>
                <c:pt idx="76">
                  <c:v>6.3439499335471243</c:v>
                </c:pt>
                <c:pt idx="77">
                  <c:v>7.9299374169339059</c:v>
                </c:pt>
                <c:pt idx="78">
                  <c:v>7.6127399202565496</c:v>
                </c:pt>
                <c:pt idx="79">
                  <c:v>6.9783449269018369</c:v>
                </c:pt>
                <c:pt idx="80">
                  <c:v>6.6611474302244806</c:v>
                </c:pt>
                <c:pt idx="81">
                  <c:v>6.6611474302244806</c:v>
                </c:pt>
                <c:pt idx="82">
                  <c:v>6.6611474302244806</c:v>
                </c:pt>
                <c:pt idx="83">
                  <c:v>5.8681536885310903</c:v>
                </c:pt>
                <c:pt idx="84">
                  <c:v>4.2821662051443088</c:v>
                </c:pt>
                <c:pt idx="85">
                  <c:v>3.8063699601282748</c:v>
                </c:pt>
                <c:pt idx="86">
                  <c:v>4.2821662051443088</c:v>
                </c:pt>
                <c:pt idx="87">
                  <c:v>4.9165611984990214</c:v>
                </c:pt>
                <c:pt idx="88">
                  <c:v>5.0751599468376991</c:v>
                </c:pt>
                <c:pt idx="89">
                  <c:v>5.2337586951763777</c:v>
                </c:pt>
                <c:pt idx="90">
                  <c:v>6.502548681885802</c:v>
                </c:pt>
                <c:pt idx="91">
                  <c:v>8.5643324102886176</c:v>
                </c:pt>
                <c:pt idx="92">
                  <c:v>10.150319893675398</c:v>
                </c:pt>
                <c:pt idx="93">
                  <c:v>10.626116138691433</c:v>
                </c:pt>
                <c:pt idx="94">
                  <c:v>10.94331363536879</c:v>
                </c:pt>
                <c:pt idx="95">
                  <c:v>10.626116138691433</c:v>
                </c:pt>
                <c:pt idx="96">
                  <c:v>10.94331363536879</c:v>
                </c:pt>
                <c:pt idx="97">
                  <c:v>10.784714887030111</c:v>
                </c:pt>
                <c:pt idx="98">
                  <c:v>10.150319893675398</c:v>
                </c:pt>
                <c:pt idx="99">
                  <c:v>10.308918642014078</c:v>
                </c:pt>
                <c:pt idx="100">
                  <c:v>10.626116138691433</c:v>
                </c:pt>
                <c:pt idx="101">
                  <c:v>10.626116138691433</c:v>
                </c:pt>
                <c:pt idx="102">
                  <c:v>10.784714887030111</c:v>
                </c:pt>
                <c:pt idx="103">
                  <c:v>11.260511132046146</c:v>
                </c:pt>
                <c:pt idx="104">
                  <c:v>11.894906125400858</c:v>
                </c:pt>
                <c:pt idx="105">
                  <c:v>13.005097363771604</c:v>
                </c:pt>
                <c:pt idx="106">
                  <c:v>12.846498615432926</c:v>
                </c:pt>
                <c:pt idx="107">
                  <c:v>14.591084847158386</c:v>
                </c:pt>
                <c:pt idx="108">
                  <c:v>15.225479840513099</c:v>
                </c:pt>
                <c:pt idx="109">
                  <c:v>19.190448548980054</c:v>
                </c:pt>
                <c:pt idx="110">
                  <c:v>18.55605355562534</c:v>
                </c:pt>
                <c:pt idx="111">
                  <c:v>17.60446106559327</c:v>
                </c:pt>
                <c:pt idx="112">
                  <c:v>17.445862317254594</c:v>
                </c:pt>
                <c:pt idx="113">
                  <c:v>17.128664820577235</c:v>
                </c:pt>
                <c:pt idx="114">
                  <c:v>16.970066072238559</c:v>
                </c:pt>
                <c:pt idx="115">
                  <c:v>17.60446106559327</c:v>
                </c:pt>
                <c:pt idx="116">
                  <c:v>16.970066072238559</c:v>
                </c:pt>
                <c:pt idx="117">
                  <c:v>18.238856058947984</c:v>
                </c:pt>
                <c:pt idx="118">
                  <c:v>20.935034780705511</c:v>
                </c:pt>
                <c:pt idx="119">
                  <c:v>22.362423515753616</c:v>
                </c:pt>
                <c:pt idx="120">
                  <c:v>25.058602237511145</c:v>
                </c:pt>
                <c:pt idx="121">
                  <c:v>31.243953422719589</c:v>
                </c:pt>
                <c:pt idx="122">
                  <c:v>36.319113369557286</c:v>
                </c:pt>
                <c:pt idx="123">
                  <c:v>36.794909614573321</c:v>
                </c:pt>
                <c:pt idx="124">
                  <c:v>36.794909614573321</c:v>
                </c:pt>
                <c:pt idx="125">
                  <c:v>40.601279574701593</c:v>
                </c:pt>
                <c:pt idx="126">
                  <c:v>43.456057044797802</c:v>
                </c:pt>
                <c:pt idx="127">
                  <c:v>52.020389455086416</c:v>
                </c:pt>
                <c:pt idx="128">
                  <c:v>54.557969428505267</c:v>
                </c:pt>
                <c:pt idx="129">
                  <c:v>54.082173183489232</c:v>
                </c:pt>
                <c:pt idx="130">
                  <c:v>55.033765673521302</c:v>
                </c:pt>
                <c:pt idx="131">
                  <c:v>55.192364421859985</c:v>
                </c:pt>
                <c:pt idx="132">
                  <c:v>63.280900587132571</c:v>
                </c:pt>
                <c:pt idx="133">
                  <c:v>75.493004209210781</c:v>
                </c:pt>
                <c:pt idx="134">
                  <c:v>83.898737871160719</c:v>
                </c:pt>
                <c:pt idx="135">
                  <c:v>95.317847751545543</c:v>
                </c:pt>
                <c:pt idx="136">
                  <c:v>113.39810506215484</c:v>
                </c:pt>
                <c:pt idx="137">
                  <c:v>127.67199241263587</c:v>
                </c:pt>
                <c:pt idx="138">
                  <c:v>133.06434985615095</c:v>
                </c:pt>
                <c:pt idx="139">
                  <c:v>147.65543470330931</c:v>
                </c:pt>
                <c:pt idx="140">
                  <c:v>177.78919688765816</c:v>
                </c:pt>
                <c:pt idx="141">
                  <c:v>193.96626921820334</c:v>
                </c:pt>
                <c:pt idx="142">
                  <c:v>226.0032163826163</c:v>
                </c:pt>
                <c:pt idx="143">
                  <c:v>266.76309470565656</c:v>
                </c:pt>
                <c:pt idx="144">
                  <c:v>292.77328943319981</c:v>
                </c:pt>
                <c:pt idx="145">
                  <c:v>306.72997928700346</c:v>
                </c:pt>
                <c:pt idx="146">
                  <c:v>318.1490891673883</c:v>
                </c:pt>
                <c:pt idx="147">
                  <c:v>362.08094245720213</c:v>
                </c:pt>
                <c:pt idx="148">
                  <c:v>412.35674568056305</c:v>
                </c:pt>
                <c:pt idx="149">
                  <c:v>407.12298698538666</c:v>
                </c:pt>
                <c:pt idx="150">
                  <c:v>424.09305305762524</c:v>
                </c:pt>
                <c:pt idx="151">
                  <c:v>437.7325454147516</c:v>
                </c:pt>
                <c:pt idx="152">
                  <c:v>448.83445779845908</c:v>
                </c:pt>
                <c:pt idx="153">
                  <c:v>522.10707953092833</c:v>
                </c:pt>
                <c:pt idx="154">
                  <c:v>571.9070865092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EF-41E2-A2D7-553F333F29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31.243953422719589</c:v>
                </c:pt>
                <c:pt idx="123">
                  <c:v>32.512743409429014</c:v>
                </c:pt>
                <c:pt idx="124">
                  <c:v>33.781533396138435</c:v>
                </c:pt>
                <c:pt idx="125">
                  <c:v>35.20892213118654</c:v>
                </c:pt>
                <c:pt idx="126">
                  <c:v>36.636310866234645</c:v>
                </c:pt>
                <c:pt idx="127">
                  <c:v>38.063699601282742</c:v>
                </c:pt>
                <c:pt idx="128">
                  <c:v>39.64968708466953</c:v>
                </c:pt>
                <c:pt idx="129">
                  <c:v>41.077075819717628</c:v>
                </c:pt>
                <c:pt idx="130">
                  <c:v>42.663063303104416</c:v>
                </c:pt>
                <c:pt idx="131">
                  <c:v>44.249050786491196</c:v>
                </c:pt>
                <c:pt idx="132">
                  <c:v>45.83503826987797</c:v>
                </c:pt>
                <c:pt idx="133">
                  <c:v>47.579624501603433</c:v>
                </c:pt>
                <c:pt idx="134">
                  <c:v>49.32421073332889</c:v>
                </c:pt>
                <c:pt idx="135">
                  <c:v>51.068796965054347</c:v>
                </c:pt>
                <c:pt idx="136">
                  <c:v>52.971981945118486</c:v>
                </c:pt>
                <c:pt idx="137">
                  <c:v>54.875166925182626</c:v>
                </c:pt>
                <c:pt idx="138">
                  <c:v>56.936950653585441</c:v>
                </c:pt>
                <c:pt idx="139">
                  <c:v>58.998734381988257</c:v>
                </c:pt>
                <c:pt idx="140">
                  <c:v>61.060518110391072</c:v>
                </c:pt>
                <c:pt idx="141">
                  <c:v>63.439499335471247</c:v>
                </c:pt>
                <c:pt idx="142">
                  <c:v>65.818480560551421</c:v>
                </c:pt>
                <c:pt idx="143">
                  <c:v>68.197461785631589</c:v>
                </c:pt>
                <c:pt idx="144">
                  <c:v>70.735041759050446</c:v>
                </c:pt>
                <c:pt idx="145">
                  <c:v>73.27262173246929</c:v>
                </c:pt>
                <c:pt idx="146">
                  <c:v>75.968800454226809</c:v>
                </c:pt>
                <c:pt idx="147">
                  <c:v>78.664979175984342</c:v>
                </c:pt>
                <c:pt idx="148">
                  <c:v>81.361157897741876</c:v>
                </c:pt>
                <c:pt idx="149">
                  <c:v>84.215935367838071</c:v>
                </c:pt>
                <c:pt idx="150">
                  <c:v>87.229311586272956</c:v>
                </c:pt>
                <c:pt idx="151">
                  <c:v>90.242687804707842</c:v>
                </c:pt>
                <c:pt idx="152">
                  <c:v>93.573261519820079</c:v>
                </c:pt>
                <c:pt idx="153">
                  <c:v>96.90383523493233</c:v>
                </c:pt>
                <c:pt idx="154">
                  <c:v>100.39300769838324</c:v>
                </c:pt>
                <c:pt idx="155">
                  <c:v>104.04077891017283</c:v>
                </c:pt>
                <c:pt idx="156">
                  <c:v>107.68855012196245</c:v>
                </c:pt>
                <c:pt idx="157">
                  <c:v>111.4949200820907</c:v>
                </c:pt>
                <c:pt idx="158">
                  <c:v>115.45988879055767</c:v>
                </c:pt>
                <c:pt idx="159">
                  <c:v>119.42485749902461</c:v>
                </c:pt>
                <c:pt idx="160">
                  <c:v>123.54842495583024</c:v>
                </c:pt>
                <c:pt idx="161">
                  <c:v>127.98918990931324</c:v>
                </c:pt>
                <c:pt idx="162">
                  <c:v>132.42995486279622</c:v>
                </c:pt>
                <c:pt idx="163">
                  <c:v>137.18791731295656</c:v>
                </c:pt>
                <c:pt idx="164">
                  <c:v>142.1044785114556</c:v>
                </c:pt>
                <c:pt idx="165">
                  <c:v>147.02103970995461</c:v>
                </c:pt>
                <c:pt idx="166">
                  <c:v>152.25479840513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EF-41E2-A2D7-553F333F29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31.402552171058268</c:v>
                </c:pt>
                <c:pt idx="123">
                  <c:v>32.988539654445049</c:v>
                </c:pt>
                <c:pt idx="124">
                  <c:v>34.733125886170505</c:v>
                </c:pt>
                <c:pt idx="125">
                  <c:v>36.477712117895969</c:v>
                </c:pt>
                <c:pt idx="126">
                  <c:v>38.380897097960109</c:v>
                </c:pt>
                <c:pt idx="127">
                  <c:v>40.442680826362917</c:v>
                </c:pt>
                <c:pt idx="128">
                  <c:v>42.821662051443091</c:v>
                </c:pt>
                <c:pt idx="129">
                  <c:v>45.042044528184583</c:v>
                </c:pt>
                <c:pt idx="130">
                  <c:v>47.42102575326475</c:v>
                </c:pt>
                <c:pt idx="131">
                  <c:v>49.800006978344925</c:v>
                </c:pt>
                <c:pt idx="132">
                  <c:v>52.496185700102451</c:v>
                </c:pt>
                <c:pt idx="133">
                  <c:v>55.192364421859985</c:v>
                </c:pt>
                <c:pt idx="134">
                  <c:v>58.20574064029487</c:v>
                </c:pt>
                <c:pt idx="135">
                  <c:v>61.219116858729755</c:v>
                </c:pt>
                <c:pt idx="136">
                  <c:v>64.39109182550331</c:v>
                </c:pt>
                <c:pt idx="137">
                  <c:v>67.563066792276871</c:v>
                </c:pt>
                <c:pt idx="138">
                  <c:v>71.052239255727798</c:v>
                </c:pt>
                <c:pt idx="139">
                  <c:v>74.700010467517387</c:v>
                </c:pt>
                <c:pt idx="140">
                  <c:v>78.664979175984342</c:v>
                </c:pt>
                <c:pt idx="141">
                  <c:v>82.629947884451298</c:v>
                </c:pt>
                <c:pt idx="142">
                  <c:v>86.753515341256929</c:v>
                </c:pt>
                <c:pt idx="143">
                  <c:v>91.194280294739912</c:v>
                </c:pt>
                <c:pt idx="144">
                  <c:v>95.79364399656157</c:v>
                </c:pt>
                <c:pt idx="145">
                  <c:v>100.55160644672192</c:v>
                </c:pt>
                <c:pt idx="146">
                  <c:v>105.62676639355962</c:v>
                </c:pt>
                <c:pt idx="147">
                  <c:v>110.86052508873601</c:v>
                </c:pt>
                <c:pt idx="148">
                  <c:v>116.41148128058974</c:v>
                </c:pt>
                <c:pt idx="149">
                  <c:v>122.27963496912082</c:v>
                </c:pt>
                <c:pt idx="150">
                  <c:v>128.46498615432927</c:v>
                </c:pt>
                <c:pt idx="151">
                  <c:v>134.96753483621509</c:v>
                </c:pt>
                <c:pt idx="152">
                  <c:v>141.78728101477824</c:v>
                </c:pt>
                <c:pt idx="153">
                  <c:v>148.92422469001875</c:v>
                </c:pt>
                <c:pt idx="154">
                  <c:v>156.3783658619366</c:v>
                </c:pt>
                <c:pt idx="155">
                  <c:v>164.30830327887051</c:v>
                </c:pt>
                <c:pt idx="156">
                  <c:v>172.55543819248177</c:v>
                </c:pt>
                <c:pt idx="157">
                  <c:v>181.11977060277042</c:v>
                </c:pt>
                <c:pt idx="158">
                  <c:v>190.15989925807506</c:v>
                </c:pt>
                <c:pt idx="159">
                  <c:v>199.67582415839573</c:v>
                </c:pt>
                <c:pt idx="160">
                  <c:v>209.66754530373248</c:v>
                </c:pt>
                <c:pt idx="161">
                  <c:v>220.13506269408521</c:v>
                </c:pt>
                <c:pt idx="162">
                  <c:v>231.07837632945402</c:v>
                </c:pt>
                <c:pt idx="163">
                  <c:v>242.6560849581775</c:v>
                </c:pt>
                <c:pt idx="164">
                  <c:v>254.70958983191704</c:v>
                </c:pt>
                <c:pt idx="165">
                  <c:v>267.39748969901126</c:v>
                </c:pt>
                <c:pt idx="166">
                  <c:v>280.719784559460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EF-41E2-A2D7-553F333F297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31.56115091939694</c:v>
                </c:pt>
                <c:pt idx="123">
                  <c:v>33.464335899461084</c:v>
                </c:pt>
                <c:pt idx="124">
                  <c:v>35.526119627863899</c:v>
                </c:pt>
                <c:pt idx="125">
                  <c:v>37.746502104605391</c:v>
                </c:pt>
                <c:pt idx="126">
                  <c:v>40.125483329685558</c:v>
                </c:pt>
                <c:pt idx="127">
                  <c:v>42.821662051443091</c:v>
                </c:pt>
                <c:pt idx="128">
                  <c:v>45.993637018216653</c:v>
                </c:pt>
                <c:pt idx="129">
                  <c:v>49.007013236651531</c:v>
                </c:pt>
                <c:pt idx="130">
                  <c:v>52.178988203425099</c:v>
                </c:pt>
                <c:pt idx="131">
                  <c:v>55.509561918537337</c:v>
                </c:pt>
                <c:pt idx="132">
                  <c:v>59.15733313032694</c:v>
                </c:pt>
                <c:pt idx="133">
                  <c:v>63.122301838793881</c:v>
                </c:pt>
                <c:pt idx="134">
                  <c:v>67.404468043938195</c:v>
                </c:pt>
                <c:pt idx="135">
                  <c:v>71.845232997421192</c:v>
                </c:pt>
                <c:pt idx="136">
                  <c:v>76.603195447581527</c:v>
                </c:pt>
                <c:pt idx="137">
                  <c:v>81.519756646080552</c:v>
                </c:pt>
                <c:pt idx="138">
                  <c:v>86.912114089595605</c:v>
                </c:pt>
                <c:pt idx="139">
                  <c:v>92.621669029788009</c:v>
                </c:pt>
                <c:pt idx="140">
                  <c:v>98.80702021499647</c:v>
                </c:pt>
                <c:pt idx="141">
                  <c:v>105.30956889688227</c:v>
                </c:pt>
                <c:pt idx="142">
                  <c:v>112.12931507544543</c:v>
                </c:pt>
                <c:pt idx="143">
                  <c:v>119.42485749902461</c:v>
                </c:pt>
                <c:pt idx="144">
                  <c:v>127.19619616761983</c:v>
                </c:pt>
                <c:pt idx="145">
                  <c:v>135.44333108123112</c:v>
                </c:pt>
                <c:pt idx="146">
                  <c:v>144.16626223985841</c:v>
                </c:pt>
                <c:pt idx="147">
                  <c:v>153.36498964350173</c:v>
                </c:pt>
                <c:pt idx="148">
                  <c:v>163.19811204049978</c:v>
                </c:pt>
                <c:pt idx="149">
                  <c:v>173.66562943085253</c:v>
                </c:pt>
                <c:pt idx="150">
                  <c:v>184.76754181455999</c:v>
                </c:pt>
                <c:pt idx="151">
                  <c:v>196.66244793996086</c:v>
                </c:pt>
                <c:pt idx="152">
                  <c:v>209.3503478070551</c:v>
                </c:pt>
                <c:pt idx="153">
                  <c:v>222.83124141584273</c:v>
                </c:pt>
                <c:pt idx="154">
                  <c:v>237.10512876632379</c:v>
                </c:pt>
                <c:pt idx="155">
                  <c:v>252.3306086068369</c:v>
                </c:pt>
                <c:pt idx="156">
                  <c:v>268.50768093738202</c:v>
                </c:pt>
                <c:pt idx="157">
                  <c:v>285.79494450629795</c:v>
                </c:pt>
                <c:pt idx="158">
                  <c:v>304.03380056524594</c:v>
                </c:pt>
                <c:pt idx="159">
                  <c:v>323.38284786256469</c:v>
                </c:pt>
                <c:pt idx="160">
                  <c:v>344.15928389493155</c:v>
                </c:pt>
                <c:pt idx="161">
                  <c:v>366.20450991400776</c:v>
                </c:pt>
                <c:pt idx="162">
                  <c:v>389.67712466813208</c:v>
                </c:pt>
                <c:pt idx="163">
                  <c:v>414.57712815730457</c:v>
                </c:pt>
                <c:pt idx="164">
                  <c:v>441.06311912986382</c:v>
                </c:pt>
                <c:pt idx="165">
                  <c:v>469.29369633414854</c:v>
                </c:pt>
                <c:pt idx="166">
                  <c:v>499.268859770158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2EF-41E2-A2D7-553F333F297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31.56115091939694</c:v>
                </c:pt>
                <c:pt idx="123">
                  <c:v>33.464335899461084</c:v>
                </c:pt>
                <c:pt idx="124">
                  <c:v>35.526119627863899</c:v>
                </c:pt>
                <c:pt idx="125">
                  <c:v>37.746502104605391</c:v>
                </c:pt>
                <c:pt idx="126">
                  <c:v>40.125483329685558</c:v>
                </c:pt>
                <c:pt idx="127">
                  <c:v>42.821662051443091</c:v>
                </c:pt>
                <c:pt idx="128">
                  <c:v>45.993637018216653</c:v>
                </c:pt>
                <c:pt idx="129">
                  <c:v>49.007013236651531</c:v>
                </c:pt>
                <c:pt idx="130">
                  <c:v>52.178988203425099</c:v>
                </c:pt>
                <c:pt idx="131">
                  <c:v>55.509561918537337</c:v>
                </c:pt>
                <c:pt idx="132">
                  <c:v>59.15733313032694</c:v>
                </c:pt>
                <c:pt idx="133">
                  <c:v>63.915295580487282</c:v>
                </c:pt>
                <c:pt idx="134">
                  <c:v>69.307653024002335</c:v>
                </c:pt>
                <c:pt idx="135">
                  <c:v>75.175806712533415</c:v>
                </c:pt>
                <c:pt idx="136">
                  <c:v>81.678355394419228</c:v>
                </c:pt>
                <c:pt idx="137">
                  <c:v>88.815299069659744</c:v>
                </c:pt>
                <c:pt idx="138">
                  <c:v>97.062433983271006</c:v>
                </c:pt>
                <c:pt idx="139">
                  <c:v>106.419760135253</c:v>
                </c:pt>
                <c:pt idx="140">
                  <c:v>116.25288253225105</c:v>
                </c:pt>
                <c:pt idx="141">
                  <c:v>126.7203999226038</c:v>
                </c:pt>
                <c:pt idx="142">
                  <c:v>138.13950980298864</c:v>
                </c:pt>
                <c:pt idx="143">
                  <c:v>150.66881092174421</c:v>
                </c:pt>
                <c:pt idx="144">
                  <c:v>164.46690202720922</c:v>
                </c:pt>
                <c:pt idx="145">
                  <c:v>179.5337831193836</c:v>
                </c:pt>
                <c:pt idx="146">
                  <c:v>195.86945419826748</c:v>
                </c:pt>
                <c:pt idx="147">
                  <c:v>213.47391526386076</c:v>
                </c:pt>
                <c:pt idx="148">
                  <c:v>232.6643638128408</c:v>
                </c:pt>
                <c:pt idx="149">
                  <c:v>253.75799734188499</c:v>
                </c:pt>
                <c:pt idx="150">
                  <c:v>276.75481585099328</c:v>
                </c:pt>
                <c:pt idx="151">
                  <c:v>301.97201683684312</c:v>
                </c:pt>
                <c:pt idx="152">
                  <c:v>329.25100155109578</c:v>
                </c:pt>
                <c:pt idx="153">
                  <c:v>358.90896749042861</c:v>
                </c:pt>
                <c:pt idx="154">
                  <c:v>386.98094594637456</c:v>
                </c:pt>
                <c:pt idx="155">
                  <c:v>415.37012189899798</c:v>
                </c:pt>
                <c:pt idx="156">
                  <c:v>444.8694890899921</c:v>
                </c:pt>
                <c:pt idx="157">
                  <c:v>476.43064000938904</c:v>
                </c:pt>
                <c:pt idx="158">
                  <c:v>508.62618592214068</c:v>
                </c:pt>
                <c:pt idx="159">
                  <c:v>541.13892933156967</c:v>
                </c:pt>
                <c:pt idx="160">
                  <c:v>573.65167274099872</c:v>
                </c:pt>
                <c:pt idx="161">
                  <c:v>610.2879836072334</c:v>
                </c:pt>
                <c:pt idx="162">
                  <c:v>650.41346693691889</c:v>
                </c:pt>
                <c:pt idx="163">
                  <c:v>693.07653024002332</c:v>
                </c:pt>
                <c:pt idx="164">
                  <c:v>737.32558102651456</c:v>
                </c:pt>
                <c:pt idx="165">
                  <c:v>783.79501428974709</c:v>
                </c:pt>
                <c:pt idx="166">
                  <c:v>833.11922502307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2EF-41E2-A2D7-553F333F2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7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75</c:v>
                </c:pt>
                <c:pt idx="1">
                  <c:v>11</c:v>
                </c:pt>
                <c:pt idx="2">
                  <c:v>159</c:v>
                </c:pt>
                <c:pt idx="3">
                  <c:v>194</c:v>
                </c:pt>
                <c:pt idx="4">
                  <c:v>166</c:v>
                </c:pt>
                <c:pt idx="5">
                  <c:v>131</c:v>
                </c:pt>
                <c:pt idx="6">
                  <c:v>95</c:v>
                </c:pt>
                <c:pt idx="7">
                  <c:v>104</c:v>
                </c:pt>
                <c:pt idx="8">
                  <c:v>20</c:v>
                </c:pt>
                <c:pt idx="9">
                  <c:v>100</c:v>
                </c:pt>
                <c:pt idx="10">
                  <c:v>149</c:v>
                </c:pt>
                <c:pt idx="11">
                  <c:v>102</c:v>
                </c:pt>
                <c:pt idx="12">
                  <c:v>120</c:v>
                </c:pt>
                <c:pt idx="13">
                  <c:v>68</c:v>
                </c:pt>
                <c:pt idx="14">
                  <c:v>68</c:v>
                </c:pt>
                <c:pt idx="15">
                  <c:v>6</c:v>
                </c:pt>
                <c:pt idx="16">
                  <c:v>85</c:v>
                </c:pt>
                <c:pt idx="17">
                  <c:v>74</c:v>
                </c:pt>
                <c:pt idx="18">
                  <c:v>51</c:v>
                </c:pt>
                <c:pt idx="19">
                  <c:v>87</c:v>
                </c:pt>
                <c:pt idx="20">
                  <c:v>51</c:v>
                </c:pt>
                <c:pt idx="21">
                  <c:v>48</c:v>
                </c:pt>
                <c:pt idx="22">
                  <c:v>5</c:v>
                </c:pt>
                <c:pt idx="23">
                  <c:v>64</c:v>
                </c:pt>
                <c:pt idx="24">
                  <c:v>66</c:v>
                </c:pt>
                <c:pt idx="25">
                  <c:v>28</c:v>
                </c:pt>
                <c:pt idx="26">
                  <c:v>42</c:v>
                </c:pt>
                <c:pt idx="27">
                  <c:v>46</c:v>
                </c:pt>
                <c:pt idx="28">
                  <c:v>30</c:v>
                </c:pt>
                <c:pt idx="29">
                  <c:v>6</c:v>
                </c:pt>
                <c:pt idx="30">
                  <c:v>35</c:v>
                </c:pt>
                <c:pt idx="31">
                  <c:v>56</c:v>
                </c:pt>
                <c:pt idx="32">
                  <c:v>35</c:v>
                </c:pt>
                <c:pt idx="33">
                  <c:v>22</c:v>
                </c:pt>
                <c:pt idx="34">
                  <c:v>24</c:v>
                </c:pt>
                <c:pt idx="35">
                  <c:v>10</c:v>
                </c:pt>
                <c:pt idx="36">
                  <c:v>0</c:v>
                </c:pt>
                <c:pt idx="37">
                  <c:v>21</c:v>
                </c:pt>
                <c:pt idx="38">
                  <c:v>24</c:v>
                </c:pt>
                <c:pt idx="39">
                  <c:v>18</c:v>
                </c:pt>
                <c:pt idx="40">
                  <c:v>11</c:v>
                </c:pt>
                <c:pt idx="41">
                  <c:v>6</c:v>
                </c:pt>
                <c:pt idx="42">
                  <c:v>7</c:v>
                </c:pt>
                <c:pt idx="43">
                  <c:v>0</c:v>
                </c:pt>
                <c:pt idx="44">
                  <c:v>12</c:v>
                </c:pt>
                <c:pt idx="45">
                  <c:v>11</c:v>
                </c:pt>
                <c:pt idx="46">
                  <c:v>5</c:v>
                </c:pt>
                <c:pt idx="47">
                  <c:v>6</c:v>
                </c:pt>
                <c:pt idx="48">
                  <c:v>8</c:v>
                </c:pt>
                <c:pt idx="49">
                  <c:v>9</c:v>
                </c:pt>
                <c:pt idx="50">
                  <c:v>1</c:v>
                </c:pt>
                <c:pt idx="51">
                  <c:v>8</c:v>
                </c:pt>
                <c:pt idx="52">
                  <c:v>10</c:v>
                </c:pt>
                <c:pt idx="53">
                  <c:v>12</c:v>
                </c:pt>
                <c:pt idx="54">
                  <c:v>3</c:v>
                </c:pt>
                <c:pt idx="55">
                  <c:v>2</c:v>
                </c:pt>
                <c:pt idx="56">
                  <c:v>4</c:v>
                </c:pt>
                <c:pt idx="57">
                  <c:v>4</c:v>
                </c:pt>
                <c:pt idx="58">
                  <c:v>5</c:v>
                </c:pt>
                <c:pt idx="59">
                  <c:v>10</c:v>
                </c:pt>
                <c:pt idx="60">
                  <c:v>2</c:v>
                </c:pt>
                <c:pt idx="61">
                  <c:v>1</c:v>
                </c:pt>
                <c:pt idx="62">
                  <c:v>8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1</c:v>
                </c:pt>
                <c:pt idx="68">
                  <c:v>3</c:v>
                </c:pt>
                <c:pt idx="69">
                  <c:v>9</c:v>
                </c:pt>
                <c:pt idx="70">
                  <c:v>4</c:v>
                </c:pt>
                <c:pt idx="71">
                  <c:v>1</c:v>
                </c:pt>
                <c:pt idx="72">
                  <c:v>3</c:v>
                </c:pt>
                <c:pt idx="73">
                  <c:v>4</c:v>
                </c:pt>
                <c:pt idx="74">
                  <c:v>9</c:v>
                </c:pt>
                <c:pt idx="75">
                  <c:v>5</c:v>
                </c:pt>
                <c:pt idx="76">
                  <c:v>4</c:v>
                </c:pt>
                <c:pt idx="77">
                  <c:v>5</c:v>
                </c:pt>
                <c:pt idx="78">
                  <c:v>2</c:v>
                </c:pt>
                <c:pt idx="79">
                  <c:v>4</c:v>
                </c:pt>
                <c:pt idx="80">
                  <c:v>6</c:v>
                </c:pt>
                <c:pt idx="81">
                  <c:v>6</c:v>
                </c:pt>
                <c:pt idx="82">
                  <c:v>11</c:v>
                </c:pt>
                <c:pt idx="83">
                  <c:v>4</c:v>
                </c:pt>
                <c:pt idx="84">
                  <c:v>4</c:v>
                </c:pt>
                <c:pt idx="85">
                  <c:v>2</c:v>
                </c:pt>
                <c:pt idx="86">
                  <c:v>4</c:v>
                </c:pt>
                <c:pt idx="87">
                  <c:v>6</c:v>
                </c:pt>
                <c:pt idx="88">
                  <c:v>2</c:v>
                </c:pt>
                <c:pt idx="89">
                  <c:v>7</c:v>
                </c:pt>
                <c:pt idx="90">
                  <c:v>2</c:v>
                </c:pt>
                <c:pt idx="91">
                  <c:v>1</c:v>
                </c:pt>
                <c:pt idx="92">
                  <c:v>1</c:v>
                </c:pt>
                <c:pt idx="93">
                  <c:v>4</c:v>
                </c:pt>
                <c:pt idx="94">
                  <c:v>2</c:v>
                </c:pt>
                <c:pt idx="95">
                  <c:v>2</c:v>
                </c:pt>
                <c:pt idx="96">
                  <c:v>3</c:v>
                </c:pt>
                <c:pt idx="97">
                  <c:v>5</c:v>
                </c:pt>
                <c:pt idx="98">
                  <c:v>5</c:v>
                </c:pt>
                <c:pt idx="99">
                  <c:v>2</c:v>
                </c:pt>
                <c:pt idx="100">
                  <c:v>4</c:v>
                </c:pt>
                <c:pt idx="101">
                  <c:v>2</c:v>
                </c:pt>
                <c:pt idx="102">
                  <c:v>6</c:v>
                </c:pt>
                <c:pt idx="103">
                  <c:v>3</c:v>
                </c:pt>
                <c:pt idx="104">
                  <c:v>6</c:v>
                </c:pt>
                <c:pt idx="105">
                  <c:v>4</c:v>
                </c:pt>
                <c:pt idx="106">
                  <c:v>1</c:v>
                </c:pt>
                <c:pt idx="107">
                  <c:v>3</c:v>
                </c:pt>
                <c:pt idx="108">
                  <c:v>6</c:v>
                </c:pt>
                <c:pt idx="109">
                  <c:v>3</c:v>
                </c:pt>
                <c:pt idx="110">
                  <c:v>8</c:v>
                </c:pt>
                <c:pt idx="111">
                  <c:v>5</c:v>
                </c:pt>
                <c:pt idx="112">
                  <c:v>7</c:v>
                </c:pt>
                <c:pt idx="113">
                  <c:v>0</c:v>
                </c:pt>
                <c:pt idx="114">
                  <c:v>4</c:v>
                </c:pt>
                <c:pt idx="115">
                  <c:v>8</c:v>
                </c:pt>
                <c:pt idx="116">
                  <c:v>10</c:v>
                </c:pt>
                <c:pt idx="117">
                  <c:v>3</c:v>
                </c:pt>
                <c:pt idx="118">
                  <c:v>8</c:v>
                </c:pt>
                <c:pt idx="119">
                  <c:v>9</c:v>
                </c:pt>
                <c:pt idx="120">
                  <c:v>1</c:v>
                </c:pt>
                <c:pt idx="121">
                  <c:v>8</c:v>
                </c:pt>
                <c:pt idx="122">
                  <c:v>8</c:v>
                </c:pt>
                <c:pt idx="123">
                  <c:v>6</c:v>
                </c:pt>
                <c:pt idx="124">
                  <c:v>13</c:v>
                </c:pt>
                <c:pt idx="125">
                  <c:v>26</c:v>
                </c:pt>
                <c:pt idx="126">
                  <c:v>14</c:v>
                </c:pt>
                <c:pt idx="127">
                  <c:v>6</c:v>
                </c:pt>
                <c:pt idx="128">
                  <c:v>19</c:v>
                </c:pt>
                <c:pt idx="129">
                  <c:v>19</c:v>
                </c:pt>
                <c:pt idx="130">
                  <c:v>19</c:v>
                </c:pt>
                <c:pt idx="131">
                  <c:v>22</c:v>
                </c:pt>
                <c:pt idx="132">
                  <c:v>28</c:v>
                </c:pt>
                <c:pt idx="133">
                  <c:v>14</c:v>
                </c:pt>
                <c:pt idx="134">
                  <c:v>3</c:v>
                </c:pt>
                <c:pt idx="135">
                  <c:v>30</c:v>
                </c:pt>
                <c:pt idx="136">
                  <c:v>37</c:v>
                </c:pt>
                <c:pt idx="137">
                  <c:v>22</c:v>
                </c:pt>
                <c:pt idx="138">
                  <c:v>21</c:v>
                </c:pt>
                <c:pt idx="139">
                  <c:v>26</c:v>
                </c:pt>
                <c:pt idx="140">
                  <c:v>16</c:v>
                </c:pt>
                <c:pt idx="141">
                  <c:v>2</c:v>
                </c:pt>
                <c:pt idx="142">
                  <c:v>14</c:v>
                </c:pt>
                <c:pt idx="143">
                  <c:v>25</c:v>
                </c:pt>
                <c:pt idx="144">
                  <c:v>23</c:v>
                </c:pt>
                <c:pt idx="145">
                  <c:v>16</c:v>
                </c:pt>
                <c:pt idx="146">
                  <c:v>15</c:v>
                </c:pt>
                <c:pt idx="147">
                  <c:v>34</c:v>
                </c:pt>
                <c:pt idx="148">
                  <c:v>12</c:v>
                </c:pt>
                <c:pt idx="149">
                  <c:v>29</c:v>
                </c:pt>
                <c:pt idx="150">
                  <c:v>23</c:v>
                </c:pt>
                <c:pt idx="151">
                  <c:v>31</c:v>
                </c:pt>
                <c:pt idx="152">
                  <c:v>34</c:v>
                </c:pt>
                <c:pt idx="153">
                  <c:v>45</c:v>
                </c:pt>
                <c:pt idx="154">
                  <c:v>29</c:v>
                </c:pt>
                <c:pt idx="155">
                  <c:v>16</c:v>
                </c:pt>
                <c:pt idx="156">
                  <c:v>32</c:v>
                </c:pt>
                <c:pt idx="157">
                  <c:v>62</c:v>
                </c:pt>
                <c:pt idx="158">
                  <c:v>51</c:v>
                </c:pt>
                <c:pt idx="159">
                  <c:v>63</c:v>
                </c:pt>
                <c:pt idx="160">
                  <c:v>44</c:v>
                </c:pt>
                <c:pt idx="161">
                  <c:v>36</c:v>
                </c:pt>
                <c:pt idx="162">
                  <c:v>9</c:v>
                </c:pt>
                <c:pt idx="163">
                  <c:v>56</c:v>
                </c:pt>
                <c:pt idx="164">
                  <c:v>90</c:v>
                </c:pt>
                <c:pt idx="165">
                  <c:v>56</c:v>
                </c:pt>
                <c:pt idx="166">
                  <c:v>73</c:v>
                </c:pt>
                <c:pt idx="167">
                  <c:v>86</c:v>
                </c:pt>
                <c:pt idx="168">
                  <c:v>61</c:v>
                </c:pt>
                <c:pt idx="169">
                  <c:v>22</c:v>
                </c:pt>
                <c:pt idx="170">
                  <c:v>107</c:v>
                </c:pt>
                <c:pt idx="171">
                  <c:v>170</c:v>
                </c:pt>
                <c:pt idx="172">
                  <c:v>150</c:v>
                </c:pt>
                <c:pt idx="173">
                  <c:v>171</c:v>
                </c:pt>
                <c:pt idx="174">
                  <c:v>265</c:v>
                </c:pt>
                <c:pt idx="175">
                  <c:v>165</c:v>
                </c:pt>
                <c:pt idx="176">
                  <c:v>80</c:v>
                </c:pt>
                <c:pt idx="177">
                  <c:v>244</c:v>
                </c:pt>
                <c:pt idx="178">
                  <c:v>413</c:v>
                </c:pt>
                <c:pt idx="179">
                  <c:v>348</c:v>
                </c:pt>
                <c:pt idx="180">
                  <c:v>290</c:v>
                </c:pt>
                <c:pt idx="181">
                  <c:v>289</c:v>
                </c:pt>
                <c:pt idx="182">
                  <c:v>451</c:v>
                </c:pt>
                <c:pt idx="183">
                  <c:v>219</c:v>
                </c:pt>
                <c:pt idx="184">
                  <c:v>384</c:v>
                </c:pt>
                <c:pt idx="185">
                  <c:v>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38-4F6A-9204-1B45B90315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36</c:v>
                </c:pt>
                <c:pt idx="154">
                  <c:v>37</c:v>
                </c:pt>
                <c:pt idx="155">
                  <c:v>39</c:v>
                </c:pt>
                <c:pt idx="156">
                  <c:v>40</c:v>
                </c:pt>
                <c:pt idx="157">
                  <c:v>42</c:v>
                </c:pt>
                <c:pt idx="158">
                  <c:v>43</c:v>
                </c:pt>
                <c:pt idx="159">
                  <c:v>45</c:v>
                </c:pt>
                <c:pt idx="160">
                  <c:v>46</c:v>
                </c:pt>
                <c:pt idx="161">
                  <c:v>48</c:v>
                </c:pt>
                <c:pt idx="162">
                  <c:v>50</c:v>
                </c:pt>
                <c:pt idx="163">
                  <c:v>52</c:v>
                </c:pt>
                <c:pt idx="164">
                  <c:v>54</c:v>
                </c:pt>
                <c:pt idx="165">
                  <c:v>56</c:v>
                </c:pt>
                <c:pt idx="166">
                  <c:v>58</c:v>
                </c:pt>
                <c:pt idx="167">
                  <c:v>60</c:v>
                </c:pt>
                <c:pt idx="168">
                  <c:v>62</c:v>
                </c:pt>
                <c:pt idx="169">
                  <c:v>64</c:v>
                </c:pt>
                <c:pt idx="170">
                  <c:v>67</c:v>
                </c:pt>
                <c:pt idx="171">
                  <c:v>69</c:v>
                </c:pt>
                <c:pt idx="172">
                  <c:v>72</c:v>
                </c:pt>
                <c:pt idx="173">
                  <c:v>74</c:v>
                </c:pt>
                <c:pt idx="174">
                  <c:v>77</c:v>
                </c:pt>
                <c:pt idx="175">
                  <c:v>80</c:v>
                </c:pt>
                <c:pt idx="176">
                  <c:v>82</c:v>
                </c:pt>
                <c:pt idx="177">
                  <c:v>85</c:v>
                </c:pt>
                <c:pt idx="178">
                  <c:v>88</c:v>
                </c:pt>
                <c:pt idx="179">
                  <c:v>92</c:v>
                </c:pt>
                <c:pt idx="180">
                  <c:v>95</c:v>
                </c:pt>
                <c:pt idx="181">
                  <c:v>98</c:v>
                </c:pt>
                <c:pt idx="182">
                  <c:v>102</c:v>
                </c:pt>
                <c:pt idx="183">
                  <c:v>105</c:v>
                </c:pt>
                <c:pt idx="184">
                  <c:v>109</c:v>
                </c:pt>
                <c:pt idx="185">
                  <c:v>113</c:v>
                </c:pt>
                <c:pt idx="186">
                  <c:v>117</c:v>
                </c:pt>
                <c:pt idx="187">
                  <c:v>121</c:v>
                </c:pt>
                <c:pt idx="188">
                  <c:v>125</c:v>
                </c:pt>
                <c:pt idx="189">
                  <c:v>130</c:v>
                </c:pt>
                <c:pt idx="190">
                  <c:v>134</c:v>
                </c:pt>
                <c:pt idx="191">
                  <c:v>139</c:v>
                </c:pt>
                <c:pt idx="192">
                  <c:v>144</c:v>
                </c:pt>
                <c:pt idx="193">
                  <c:v>149</c:v>
                </c:pt>
                <c:pt idx="194">
                  <c:v>154</c:v>
                </c:pt>
                <c:pt idx="195">
                  <c:v>160</c:v>
                </c:pt>
                <c:pt idx="196">
                  <c:v>165</c:v>
                </c:pt>
                <c:pt idx="197">
                  <c:v>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8-4F6A-9204-1B45B90315E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37</c:v>
                </c:pt>
                <c:pt idx="154">
                  <c:v>39</c:v>
                </c:pt>
                <c:pt idx="155">
                  <c:v>41</c:v>
                </c:pt>
                <c:pt idx="156">
                  <c:v>43</c:v>
                </c:pt>
                <c:pt idx="157">
                  <c:v>45</c:v>
                </c:pt>
                <c:pt idx="158">
                  <c:v>48</c:v>
                </c:pt>
                <c:pt idx="159">
                  <c:v>50</c:v>
                </c:pt>
                <c:pt idx="160">
                  <c:v>53</c:v>
                </c:pt>
                <c:pt idx="161">
                  <c:v>56</c:v>
                </c:pt>
                <c:pt idx="162">
                  <c:v>59</c:v>
                </c:pt>
                <c:pt idx="163">
                  <c:v>61</c:v>
                </c:pt>
                <c:pt idx="164">
                  <c:v>65</c:v>
                </c:pt>
                <c:pt idx="165">
                  <c:v>68</c:v>
                </c:pt>
                <c:pt idx="166">
                  <c:v>72</c:v>
                </c:pt>
                <c:pt idx="167">
                  <c:v>75</c:v>
                </c:pt>
                <c:pt idx="168">
                  <c:v>79</c:v>
                </c:pt>
                <c:pt idx="169">
                  <c:v>83</c:v>
                </c:pt>
                <c:pt idx="170">
                  <c:v>87</c:v>
                </c:pt>
                <c:pt idx="171">
                  <c:v>92</c:v>
                </c:pt>
                <c:pt idx="172">
                  <c:v>97</c:v>
                </c:pt>
                <c:pt idx="173">
                  <c:v>102</c:v>
                </c:pt>
                <c:pt idx="174">
                  <c:v>107</c:v>
                </c:pt>
                <c:pt idx="175">
                  <c:v>112</c:v>
                </c:pt>
                <c:pt idx="176">
                  <c:v>118</c:v>
                </c:pt>
                <c:pt idx="177">
                  <c:v>124</c:v>
                </c:pt>
                <c:pt idx="178">
                  <c:v>130</c:v>
                </c:pt>
                <c:pt idx="179">
                  <c:v>136</c:v>
                </c:pt>
                <c:pt idx="180">
                  <c:v>143</c:v>
                </c:pt>
                <c:pt idx="181">
                  <c:v>151</c:v>
                </c:pt>
                <c:pt idx="182">
                  <c:v>158</c:v>
                </c:pt>
                <c:pt idx="183">
                  <c:v>166</c:v>
                </c:pt>
                <c:pt idx="184">
                  <c:v>174</c:v>
                </c:pt>
                <c:pt idx="185">
                  <c:v>183</c:v>
                </c:pt>
                <c:pt idx="186">
                  <c:v>192</c:v>
                </c:pt>
                <c:pt idx="187">
                  <c:v>202</c:v>
                </c:pt>
                <c:pt idx="188">
                  <c:v>212</c:v>
                </c:pt>
                <c:pt idx="189">
                  <c:v>222</c:v>
                </c:pt>
                <c:pt idx="190">
                  <c:v>234</c:v>
                </c:pt>
                <c:pt idx="191">
                  <c:v>245</c:v>
                </c:pt>
                <c:pt idx="192">
                  <c:v>257</c:v>
                </c:pt>
                <c:pt idx="193">
                  <c:v>270</c:v>
                </c:pt>
                <c:pt idx="194">
                  <c:v>284</c:v>
                </c:pt>
                <c:pt idx="195">
                  <c:v>298</c:v>
                </c:pt>
                <c:pt idx="196">
                  <c:v>313</c:v>
                </c:pt>
                <c:pt idx="197">
                  <c:v>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38-4F6A-9204-1B45B90315E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38</c:v>
                </c:pt>
                <c:pt idx="154">
                  <c:v>41</c:v>
                </c:pt>
                <c:pt idx="155">
                  <c:v>44</c:v>
                </c:pt>
                <c:pt idx="156">
                  <c:v>46</c:v>
                </c:pt>
                <c:pt idx="157">
                  <c:v>49</c:v>
                </c:pt>
                <c:pt idx="158">
                  <c:v>52</c:v>
                </c:pt>
                <c:pt idx="159">
                  <c:v>56</c:v>
                </c:pt>
                <c:pt idx="160">
                  <c:v>60</c:v>
                </c:pt>
                <c:pt idx="161">
                  <c:v>64</c:v>
                </c:pt>
                <c:pt idx="162">
                  <c:v>68</c:v>
                </c:pt>
                <c:pt idx="163">
                  <c:v>72</c:v>
                </c:pt>
                <c:pt idx="164">
                  <c:v>77</c:v>
                </c:pt>
                <c:pt idx="165">
                  <c:v>82</c:v>
                </c:pt>
                <c:pt idx="166">
                  <c:v>88</c:v>
                </c:pt>
                <c:pt idx="167">
                  <c:v>93</c:v>
                </c:pt>
                <c:pt idx="168">
                  <c:v>99</c:v>
                </c:pt>
                <c:pt idx="169">
                  <c:v>106</c:v>
                </c:pt>
                <c:pt idx="170">
                  <c:v>113</c:v>
                </c:pt>
                <c:pt idx="171">
                  <c:v>120</c:v>
                </c:pt>
                <c:pt idx="172">
                  <c:v>128</c:v>
                </c:pt>
                <c:pt idx="173">
                  <c:v>136</c:v>
                </c:pt>
                <c:pt idx="174">
                  <c:v>145</c:v>
                </c:pt>
                <c:pt idx="175">
                  <c:v>154</c:v>
                </c:pt>
                <c:pt idx="176">
                  <c:v>164</c:v>
                </c:pt>
                <c:pt idx="177">
                  <c:v>175</c:v>
                </c:pt>
                <c:pt idx="178">
                  <c:v>186</c:v>
                </c:pt>
                <c:pt idx="179">
                  <c:v>198</c:v>
                </c:pt>
                <c:pt idx="180">
                  <c:v>211</c:v>
                </c:pt>
                <c:pt idx="181">
                  <c:v>225</c:v>
                </c:pt>
                <c:pt idx="182">
                  <c:v>239</c:v>
                </c:pt>
                <c:pt idx="183">
                  <c:v>254</c:v>
                </c:pt>
                <c:pt idx="184">
                  <c:v>271</c:v>
                </c:pt>
                <c:pt idx="185">
                  <c:v>288</c:v>
                </c:pt>
                <c:pt idx="186">
                  <c:v>306</c:v>
                </c:pt>
                <c:pt idx="187">
                  <c:v>326</c:v>
                </c:pt>
                <c:pt idx="188">
                  <c:v>347</c:v>
                </c:pt>
                <c:pt idx="189">
                  <c:v>369</c:v>
                </c:pt>
                <c:pt idx="190">
                  <c:v>393</c:v>
                </c:pt>
                <c:pt idx="191">
                  <c:v>418</c:v>
                </c:pt>
                <c:pt idx="192">
                  <c:v>445</c:v>
                </c:pt>
                <c:pt idx="193">
                  <c:v>473</c:v>
                </c:pt>
                <c:pt idx="194">
                  <c:v>503</c:v>
                </c:pt>
                <c:pt idx="195">
                  <c:v>535</c:v>
                </c:pt>
                <c:pt idx="196">
                  <c:v>569</c:v>
                </c:pt>
                <c:pt idx="197">
                  <c:v>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838-4F6A-9204-1B45B90315E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38</c:v>
                </c:pt>
                <c:pt idx="154">
                  <c:v>41</c:v>
                </c:pt>
                <c:pt idx="155">
                  <c:v>44</c:v>
                </c:pt>
                <c:pt idx="156">
                  <c:v>46</c:v>
                </c:pt>
                <c:pt idx="157">
                  <c:v>49</c:v>
                </c:pt>
                <c:pt idx="158">
                  <c:v>52</c:v>
                </c:pt>
                <c:pt idx="159">
                  <c:v>56</c:v>
                </c:pt>
                <c:pt idx="160">
                  <c:v>60</c:v>
                </c:pt>
                <c:pt idx="161">
                  <c:v>64</c:v>
                </c:pt>
                <c:pt idx="162">
                  <c:v>68</c:v>
                </c:pt>
                <c:pt idx="163">
                  <c:v>72</c:v>
                </c:pt>
                <c:pt idx="164">
                  <c:v>82</c:v>
                </c:pt>
                <c:pt idx="165">
                  <c:v>91</c:v>
                </c:pt>
                <c:pt idx="166">
                  <c:v>98</c:v>
                </c:pt>
                <c:pt idx="167">
                  <c:v>106</c:v>
                </c:pt>
                <c:pt idx="168">
                  <c:v>115</c:v>
                </c:pt>
                <c:pt idx="169">
                  <c:v>126</c:v>
                </c:pt>
                <c:pt idx="170">
                  <c:v>138</c:v>
                </c:pt>
                <c:pt idx="171">
                  <c:v>152</c:v>
                </c:pt>
                <c:pt idx="172">
                  <c:v>165</c:v>
                </c:pt>
                <c:pt idx="173">
                  <c:v>179</c:v>
                </c:pt>
                <c:pt idx="174">
                  <c:v>195</c:v>
                </c:pt>
                <c:pt idx="175">
                  <c:v>213</c:v>
                </c:pt>
                <c:pt idx="176">
                  <c:v>233</c:v>
                </c:pt>
                <c:pt idx="177">
                  <c:v>254</c:v>
                </c:pt>
                <c:pt idx="178">
                  <c:v>277</c:v>
                </c:pt>
                <c:pt idx="179">
                  <c:v>301</c:v>
                </c:pt>
                <c:pt idx="180">
                  <c:v>329</c:v>
                </c:pt>
                <c:pt idx="181">
                  <c:v>359</c:v>
                </c:pt>
                <c:pt idx="182">
                  <c:v>392</c:v>
                </c:pt>
                <c:pt idx="183">
                  <c:v>427</c:v>
                </c:pt>
                <c:pt idx="184">
                  <c:v>466</c:v>
                </c:pt>
                <c:pt idx="185">
                  <c:v>477</c:v>
                </c:pt>
                <c:pt idx="186">
                  <c:v>503</c:v>
                </c:pt>
                <c:pt idx="187">
                  <c:v>539</c:v>
                </c:pt>
                <c:pt idx="188">
                  <c:v>582</c:v>
                </c:pt>
                <c:pt idx="189">
                  <c:v>621</c:v>
                </c:pt>
                <c:pt idx="190">
                  <c:v>659</c:v>
                </c:pt>
                <c:pt idx="191">
                  <c:v>697</c:v>
                </c:pt>
                <c:pt idx="192">
                  <c:v>737</c:v>
                </c:pt>
                <c:pt idx="193">
                  <c:v>787</c:v>
                </c:pt>
                <c:pt idx="194">
                  <c:v>842</c:v>
                </c:pt>
                <c:pt idx="195">
                  <c:v>897</c:v>
                </c:pt>
                <c:pt idx="196">
                  <c:v>951</c:v>
                </c:pt>
                <c:pt idx="197">
                  <c:v>1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838-4F6A-9204-1B45B90315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7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15-44FD-973A-F27A14EC0B1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41.887957470794781</c:v>
                </c:pt>
                <c:pt idx="1">
                  <c:v>43.094606451434963</c:v>
                </c:pt>
                <c:pt idx="2">
                  <c:v>39.647037935320171</c:v>
                </c:pt>
                <c:pt idx="3">
                  <c:v>35.854712567593893</c:v>
                </c:pt>
                <c:pt idx="4">
                  <c:v>32.407144051479094</c:v>
                </c:pt>
                <c:pt idx="5">
                  <c:v>31.372873496644651</c:v>
                </c:pt>
                <c:pt idx="6">
                  <c:v>28.959575535364294</c:v>
                </c:pt>
                <c:pt idx="7">
                  <c:v>23.44346590958062</c:v>
                </c:pt>
                <c:pt idx="8">
                  <c:v>20.513032670883042</c:v>
                </c:pt>
                <c:pt idx="9">
                  <c:v>18.616869987019903</c:v>
                </c:pt>
                <c:pt idx="10">
                  <c:v>15.514058322516586</c:v>
                </c:pt>
                <c:pt idx="11">
                  <c:v>14.996923045099367</c:v>
                </c:pt>
                <c:pt idx="12">
                  <c:v>14.996923045099367</c:v>
                </c:pt>
                <c:pt idx="13">
                  <c:v>13.44551721284771</c:v>
                </c:pt>
                <c:pt idx="14">
                  <c:v>11.204597677373091</c:v>
                </c:pt>
                <c:pt idx="15">
                  <c:v>8.9636781418984732</c:v>
                </c:pt>
                <c:pt idx="16">
                  <c:v>8.1017860128697734</c:v>
                </c:pt>
                <c:pt idx="17">
                  <c:v>8.4465428644812519</c:v>
                </c:pt>
                <c:pt idx="18">
                  <c:v>8.7912997160927322</c:v>
                </c:pt>
                <c:pt idx="19">
                  <c:v>8.9636781418984732</c:v>
                </c:pt>
                <c:pt idx="20">
                  <c:v>8.2741644386755144</c:v>
                </c:pt>
                <c:pt idx="21">
                  <c:v>8.1017860128697734</c:v>
                </c:pt>
                <c:pt idx="22">
                  <c:v>9.3084349935099517</c:v>
                </c:pt>
                <c:pt idx="23">
                  <c:v>8.7912997160927322</c:v>
                </c:pt>
                <c:pt idx="24">
                  <c:v>7.7570291612582931</c:v>
                </c:pt>
                <c:pt idx="25">
                  <c:v>6.8951370322295942</c:v>
                </c:pt>
                <c:pt idx="26">
                  <c:v>7.4122723096468137</c:v>
                </c:pt>
                <c:pt idx="27">
                  <c:v>6.8951370322295942</c:v>
                </c:pt>
                <c:pt idx="28">
                  <c:v>6.8951370322295942</c:v>
                </c:pt>
                <c:pt idx="29">
                  <c:v>5.1713527741721954</c:v>
                </c:pt>
                <c:pt idx="30">
                  <c:v>4.826595922560716</c:v>
                </c:pt>
                <c:pt idx="31">
                  <c:v>5.8608664773951551</c:v>
                </c:pt>
                <c:pt idx="32">
                  <c:v>5.3437311999779356</c:v>
                </c:pt>
                <c:pt idx="33">
                  <c:v>4.6542174967549759</c:v>
                </c:pt>
                <c:pt idx="34">
                  <c:v>3.7923253677262765</c:v>
                </c:pt>
                <c:pt idx="35">
                  <c:v>2.0685411096688786</c:v>
                </c:pt>
                <c:pt idx="36">
                  <c:v>3.6199469419205368</c:v>
                </c:pt>
                <c:pt idx="37">
                  <c:v>3.9647037935320171</c:v>
                </c:pt>
                <c:pt idx="38">
                  <c:v>4.1370822193377572</c:v>
                </c:pt>
                <c:pt idx="39">
                  <c:v>4.6542174967549759</c:v>
                </c:pt>
                <c:pt idx="40">
                  <c:v>4.826595922560716</c:v>
                </c:pt>
                <c:pt idx="41">
                  <c:v>5.3437311999779356</c:v>
                </c:pt>
                <c:pt idx="42">
                  <c:v>6.0332449032008943</c:v>
                </c:pt>
                <c:pt idx="43">
                  <c:v>5.688488051589415</c:v>
                </c:pt>
                <c:pt idx="44">
                  <c:v>6.0332449032008943</c:v>
                </c:pt>
                <c:pt idx="45">
                  <c:v>5.1713527741721954</c:v>
                </c:pt>
                <c:pt idx="46">
                  <c:v>5.3437311999779356</c:v>
                </c:pt>
                <c:pt idx="47">
                  <c:v>5.5161096257836757</c:v>
                </c:pt>
                <c:pt idx="48">
                  <c:v>5.688488051589415</c:v>
                </c:pt>
                <c:pt idx="49">
                  <c:v>6.0332449032008943</c:v>
                </c:pt>
                <c:pt idx="50">
                  <c:v>5.5161096257836757</c:v>
                </c:pt>
                <c:pt idx="51">
                  <c:v>6.5503801806181139</c:v>
                </c:pt>
                <c:pt idx="52">
                  <c:v>6.5503801806181139</c:v>
                </c:pt>
                <c:pt idx="53">
                  <c:v>6.3780017548123746</c:v>
                </c:pt>
                <c:pt idx="54">
                  <c:v>6.3780017548123746</c:v>
                </c:pt>
                <c:pt idx="55">
                  <c:v>6.3780017548123746</c:v>
                </c:pt>
                <c:pt idx="56">
                  <c:v>6.3780017548123746</c:v>
                </c:pt>
                <c:pt idx="57">
                  <c:v>5.688488051589415</c:v>
                </c:pt>
                <c:pt idx="58">
                  <c:v>4.9989743483664562</c:v>
                </c:pt>
                <c:pt idx="59">
                  <c:v>4.6542174967549759</c:v>
                </c:pt>
                <c:pt idx="60">
                  <c:v>4.1370822193377572</c:v>
                </c:pt>
                <c:pt idx="61">
                  <c:v>3.9647037935320171</c:v>
                </c:pt>
                <c:pt idx="62">
                  <c:v>3.9647037935320171</c:v>
                </c:pt>
                <c:pt idx="63">
                  <c:v>3.2751900903090569</c:v>
                </c:pt>
                <c:pt idx="64">
                  <c:v>3.2751900903090569</c:v>
                </c:pt>
                <c:pt idx="65">
                  <c:v>2.5856763870860977</c:v>
                </c:pt>
                <c:pt idx="66">
                  <c:v>3.1028116645033172</c:v>
                </c:pt>
                <c:pt idx="67">
                  <c:v>3.7923253677262765</c:v>
                </c:pt>
                <c:pt idx="68">
                  <c:v>3.9647037935320171</c:v>
                </c:pt>
                <c:pt idx="69">
                  <c:v>3.9647037935320171</c:v>
                </c:pt>
                <c:pt idx="70">
                  <c:v>3.9647037935320171</c:v>
                </c:pt>
                <c:pt idx="71">
                  <c:v>4.6542174967549759</c:v>
                </c:pt>
                <c:pt idx="72">
                  <c:v>4.6542174967549759</c:v>
                </c:pt>
                <c:pt idx="73">
                  <c:v>4.826595922560716</c:v>
                </c:pt>
                <c:pt idx="74">
                  <c:v>4.6542174967549759</c:v>
                </c:pt>
                <c:pt idx="75">
                  <c:v>4.4818390709492366</c:v>
                </c:pt>
                <c:pt idx="76">
                  <c:v>4.3094606451434965</c:v>
                </c:pt>
                <c:pt idx="77">
                  <c:v>4.9989743483664562</c:v>
                </c:pt>
                <c:pt idx="78">
                  <c:v>4.4818390709492366</c:v>
                </c:pt>
                <c:pt idx="79">
                  <c:v>5.3437311999779356</c:v>
                </c:pt>
                <c:pt idx="80">
                  <c:v>5.1713527741721954</c:v>
                </c:pt>
                <c:pt idx="81">
                  <c:v>5.688488051589415</c:v>
                </c:pt>
                <c:pt idx="82">
                  <c:v>5.5161096257836757</c:v>
                </c:pt>
                <c:pt idx="83">
                  <c:v>5.688488051589415</c:v>
                </c:pt>
                <c:pt idx="84">
                  <c:v>6.0332449032008943</c:v>
                </c:pt>
                <c:pt idx="85">
                  <c:v>7.2398938838410736</c:v>
                </c:pt>
                <c:pt idx="86">
                  <c:v>6.3780017548123746</c:v>
                </c:pt>
                <c:pt idx="87">
                  <c:v>6.8951370322295942</c:v>
                </c:pt>
                <c:pt idx="88">
                  <c:v>7.2398938838410736</c:v>
                </c:pt>
                <c:pt idx="89">
                  <c:v>7.4122723096468137</c:v>
                </c:pt>
                <c:pt idx="90">
                  <c:v>8.1017860128697734</c:v>
                </c:pt>
                <c:pt idx="91">
                  <c:v>8.1017860128697734</c:v>
                </c:pt>
                <c:pt idx="92">
                  <c:v>7.4122723096468137</c:v>
                </c:pt>
                <c:pt idx="93">
                  <c:v>9.1360565677042125</c:v>
                </c:pt>
                <c:pt idx="94">
                  <c:v>12.23886823220753</c:v>
                </c:pt>
                <c:pt idx="95">
                  <c:v>13.100760361236228</c:v>
                </c:pt>
                <c:pt idx="96">
                  <c:v>13.962652490264929</c:v>
                </c:pt>
                <c:pt idx="97">
                  <c:v>15.858815174128068</c:v>
                </c:pt>
                <c:pt idx="98">
                  <c:v>17.754977857991204</c:v>
                </c:pt>
                <c:pt idx="99">
                  <c:v>19.995897393465825</c:v>
                </c:pt>
                <c:pt idx="100">
                  <c:v>21.547303225717481</c:v>
                </c:pt>
                <c:pt idx="101">
                  <c:v>21.892060077328964</c:v>
                </c:pt>
                <c:pt idx="102">
                  <c:v>21.892060077328964</c:v>
                </c:pt>
                <c:pt idx="103">
                  <c:v>21.374924799911742</c:v>
                </c:pt>
                <c:pt idx="104">
                  <c:v>23.271087483774881</c:v>
                </c:pt>
                <c:pt idx="105">
                  <c:v>26.373899148278195</c:v>
                </c:pt>
                <c:pt idx="106">
                  <c:v>26.89103442569542</c:v>
                </c:pt>
                <c:pt idx="107">
                  <c:v>26.71865599988968</c:v>
                </c:pt>
                <c:pt idx="108">
                  <c:v>26.373899148278195</c:v>
                </c:pt>
                <c:pt idx="109">
                  <c:v>26.71865599988968</c:v>
                </c:pt>
                <c:pt idx="110">
                  <c:v>26.546277574083941</c:v>
                </c:pt>
                <c:pt idx="111">
                  <c:v>23.788222761192102</c:v>
                </c:pt>
                <c:pt idx="112">
                  <c:v>21.719681651523224</c:v>
                </c:pt>
                <c:pt idx="113">
                  <c:v>21.892060077328964</c:v>
                </c:pt>
                <c:pt idx="114">
                  <c:v>21.030167948300264</c:v>
                </c:pt>
                <c:pt idx="115">
                  <c:v>19.134005264437125</c:v>
                </c:pt>
                <c:pt idx="116">
                  <c:v>22.236816928940442</c:v>
                </c:pt>
                <c:pt idx="117">
                  <c:v>23.960601186997838</c:v>
                </c:pt>
                <c:pt idx="118">
                  <c:v>26.546277574083941</c:v>
                </c:pt>
                <c:pt idx="119">
                  <c:v>26.201520722472456</c:v>
                </c:pt>
                <c:pt idx="120">
                  <c:v>27.580548128918377</c:v>
                </c:pt>
                <c:pt idx="121">
                  <c:v>30.683359793421698</c:v>
                </c:pt>
                <c:pt idx="122">
                  <c:v>35.854712567593893</c:v>
                </c:pt>
                <c:pt idx="123">
                  <c:v>34.99282043856519</c:v>
                </c:pt>
                <c:pt idx="124">
                  <c:v>35.682334141788154</c:v>
                </c:pt>
                <c:pt idx="125">
                  <c:v>36.199469419205371</c:v>
                </c:pt>
                <c:pt idx="126">
                  <c:v>42.922228025629224</c:v>
                </c:pt>
                <c:pt idx="127">
                  <c:v>46.369796541744023</c:v>
                </c:pt>
                <c:pt idx="128">
                  <c:v>51.368770890110476</c:v>
                </c:pt>
                <c:pt idx="129">
                  <c:v>51.196392464304736</c:v>
                </c:pt>
                <c:pt idx="130">
                  <c:v>52.403041444944911</c:v>
                </c:pt>
                <c:pt idx="131">
                  <c:v>51.196392464304736</c:v>
                </c:pt>
                <c:pt idx="132">
                  <c:v>55.333474683642493</c:v>
                </c:pt>
                <c:pt idx="133">
                  <c:v>60.160070606203206</c:v>
                </c:pt>
                <c:pt idx="134">
                  <c:v>61.021962735231916</c:v>
                </c:pt>
                <c:pt idx="135">
                  <c:v>62.745746993289302</c:v>
                </c:pt>
                <c:pt idx="136">
                  <c:v>69.985640877130379</c:v>
                </c:pt>
                <c:pt idx="137">
                  <c:v>74.295101522273882</c:v>
                </c:pt>
                <c:pt idx="138">
                  <c:v>76.536021057748499</c:v>
                </c:pt>
                <c:pt idx="139">
                  <c:v>85.327320773841222</c:v>
                </c:pt>
                <c:pt idx="140">
                  <c:v>99.11759483830042</c:v>
                </c:pt>
                <c:pt idx="141">
                  <c:v>115.32116686403997</c:v>
                </c:pt>
                <c:pt idx="142">
                  <c:v>132.21425259300247</c:v>
                </c:pt>
                <c:pt idx="143">
                  <c:v>163.06999081222992</c:v>
                </c:pt>
                <c:pt idx="144">
                  <c:v>180.99734709602686</c:v>
                </c:pt>
                <c:pt idx="145">
                  <c:v>190.99529579275975</c:v>
                </c:pt>
                <c:pt idx="146">
                  <c:v>214.61114012814613</c:v>
                </c:pt>
                <c:pt idx="147">
                  <c:v>256.49909759894092</c:v>
                </c:pt>
                <c:pt idx="148">
                  <c:v>290.63002590847742</c:v>
                </c:pt>
                <c:pt idx="149">
                  <c:v>311.1430585793604</c:v>
                </c:pt>
                <c:pt idx="150">
                  <c:v>315.2801407986982</c:v>
                </c:pt>
                <c:pt idx="151">
                  <c:v>364.58037057913981</c:v>
                </c:pt>
                <c:pt idx="152">
                  <c:v>388.54097176613766</c:v>
                </c:pt>
                <c:pt idx="153">
                  <c:v>412.67395137894118</c:v>
                </c:pt>
                <c:pt idx="154">
                  <c:v>448.52866394653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15-44FD-973A-F27A14EC0B1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31.200495070838912</c:v>
                </c:pt>
                <c:pt idx="123">
                  <c:v>32.407144051479094</c:v>
                </c:pt>
                <c:pt idx="124">
                  <c:v>33.613793032119275</c:v>
                </c:pt>
                <c:pt idx="125">
                  <c:v>34.82044201275945</c:v>
                </c:pt>
                <c:pt idx="126">
                  <c:v>36.027090993399632</c:v>
                </c:pt>
                <c:pt idx="127">
                  <c:v>37.406118399845546</c:v>
                </c:pt>
                <c:pt idx="128">
                  <c:v>38.957524232097207</c:v>
                </c:pt>
                <c:pt idx="129">
                  <c:v>40.336551638543128</c:v>
                </c:pt>
                <c:pt idx="130">
                  <c:v>41.887957470794781</c:v>
                </c:pt>
                <c:pt idx="131">
                  <c:v>43.439363303046449</c:v>
                </c:pt>
                <c:pt idx="132">
                  <c:v>45.163147561103841</c:v>
                </c:pt>
                <c:pt idx="133">
                  <c:v>46.886931819161241</c:v>
                </c:pt>
                <c:pt idx="134">
                  <c:v>48.61071607721864</c:v>
                </c:pt>
                <c:pt idx="135">
                  <c:v>50.334500335276033</c:v>
                </c:pt>
                <c:pt idx="136">
                  <c:v>52.230663019139172</c:v>
                </c:pt>
                <c:pt idx="137">
                  <c:v>54.126825703002318</c:v>
                </c:pt>
                <c:pt idx="138">
                  <c:v>56.195366812671196</c:v>
                </c:pt>
                <c:pt idx="139">
                  <c:v>58.091529496534328</c:v>
                </c:pt>
                <c:pt idx="140">
                  <c:v>60.160070606203206</c:v>
                </c:pt>
                <c:pt idx="141">
                  <c:v>62.228611715872084</c:v>
                </c:pt>
                <c:pt idx="142">
                  <c:v>64.469531251346709</c:v>
                </c:pt>
                <c:pt idx="143">
                  <c:v>66.882829212627072</c:v>
                </c:pt>
                <c:pt idx="144">
                  <c:v>69.296127173907422</c:v>
                </c:pt>
                <c:pt idx="145">
                  <c:v>71.709425135187786</c:v>
                </c:pt>
                <c:pt idx="146">
                  <c:v>74.295101522273882</c:v>
                </c:pt>
                <c:pt idx="147">
                  <c:v>77.053156335165724</c:v>
                </c:pt>
                <c:pt idx="148">
                  <c:v>79.811211148057552</c:v>
                </c:pt>
                <c:pt idx="149">
                  <c:v>82.741644386755127</c:v>
                </c:pt>
                <c:pt idx="150">
                  <c:v>85.672077625452701</c:v>
                </c:pt>
                <c:pt idx="151">
                  <c:v>88.774889289956022</c:v>
                </c:pt>
                <c:pt idx="152">
                  <c:v>91.877700954459343</c:v>
                </c:pt>
                <c:pt idx="153">
                  <c:v>95.15289104476841</c:v>
                </c:pt>
                <c:pt idx="154">
                  <c:v>98.600459560883195</c:v>
                </c:pt>
                <c:pt idx="155">
                  <c:v>102.22040650280373</c:v>
                </c:pt>
                <c:pt idx="156">
                  <c:v>105.84035344472426</c:v>
                </c:pt>
                <c:pt idx="157">
                  <c:v>109.46030038664482</c:v>
                </c:pt>
                <c:pt idx="158">
                  <c:v>113.25262575437108</c:v>
                </c:pt>
                <c:pt idx="159">
                  <c:v>117.38970797370884</c:v>
                </c:pt>
                <c:pt idx="160">
                  <c:v>121.52679019304659</c:v>
                </c:pt>
                <c:pt idx="161">
                  <c:v>125.66387241238436</c:v>
                </c:pt>
                <c:pt idx="162">
                  <c:v>129.97333305752784</c:v>
                </c:pt>
                <c:pt idx="163">
                  <c:v>134.62755055428283</c:v>
                </c:pt>
                <c:pt idx="164">
                  <c:v>139.45414647684353</c:v>
                </c:pt>
                <c:pt idx="165">
                  <c:v>144.28074239940426</c:v>
                </c:pt>
                <c:pt idx="166">
                  <c:v>149.279716747770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115-44FD-973A-F27A14EC0B1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31.372873496644651</c:v>
                </c:pt>
                <c:pt idx="123">
                  <c:v>32.924279328896311</c:v>
                </c:pt>
                <c:pt idx="124">
                  <c:v>34.475685161147972</c:v>
                </c:pt>
                <c:pt idx="125">
                  <c:v>36.027090993399632</c:v>
                </c:pt>
                <c:pt idx="126">
                  <c:v>37.750875251457025</c:v>
                </c:pt>
                <c:pt idx="127">
                  <c:v>39.647037935320171</c:v>
                </c:pt>
                <c:pt idx="128">
                  <c:v>41.887957470794781</c:v>
                </c:pt>
                <c:pt idx="129">
                  <c:v>44.128877006269406</c:v>
                </c:pt>
                <c:pt idx="130">
                  <c:v>46.369796541744023</c:v>
                </c:pt>
                <c:pt idx="131">
                  <c:v>48.78309450302438</c:v>
                </c:pt>
                <c:pt idx="132">
                  <c:v>51.368770890110476</c:v>
                </c:pt>
                <c:pt idx="133">
                  <c:v>54.126825703002318</c:v>
                </c:pt>
                <c:pt idx="134">
                  <c:v>57.057258941699892</c:v>
                </c:pt>
                <c:pt idx="135">
                  <c:v>59.987692180397467</c:v>
                </c:pt>
                <c:pt idx="136">
                  <c:v>62.918125419095041</c:v>
                </c:pt>
                <c:pt idx="137">
                  <c:v>66.020937083598369</c:v>
                </c:pt>
                <c:pt idx="138">
                  <c:v>69.468505599713168</c:v>
                </c:pt>
                <c:pt idx="139">
                  <c:v>73.0884525416337</c:v>
                </c:pt>
                <c:pt idx="140">
                  <c:v>76.880777909359978</c:v>
                </c:pt>
                <c:pt idx="141">
                  <c:v>80.673103277086256</c:v>
                </c:pt>
                <c:pt idx="142">
                  <c:v>84.810185496424012</c:v>
                </c:pt>
                <c:pt idx="143">
                  <c:v>89.292024567373247</c:v>
                </c:pt>
                <c:pt idx="144">
                  <c:v>93.946242064128214</c:v>
                </c:pt>
                <c:pt idx="145">
                  <c:v>98.600459560883195</c:v>
                </c:pt>
                <c:pt idx="146">
                  <c:v>103.59943390924967</c:v>
                </c:pt>
                <c:pt idx="147">
                  <c:v>108.77078668342186</c:v>
                </c:pt>
                <c:pt idx="148">
                  <c:v>114.28689630920553</c:v>
                </c:pt>
                <c:pt idx="149">
                  <c:v>120.14776278660068</c:v>
                </c:pt>
                <c:pt idx="150">
                  <c:v>126.18100768980156</c:v>
                </c:pt>
                <c:pt idx="151">
                  <c:v>132.55900944461393</c:v>
                </c:pt>
                <c:pt idx="152">
                  <c:v>139.2817680510378</c:v>
                </c:pt>
                <c:pt idx="153">
                  <c:v>146.34928350907313</c:v>
                </c:pt>
                <c:pt idx="154">
                  <c:v>153.76155581871996</c:v>
                </c:pt>
                <c:pt idx="155">
                  <c:v>161.51858497997824</c:v>
                </c:pt>
                <c:pt idx="156">
                  <c:v>169.62037099284802</c:v>
                </c:pt>
                <c:pt idx="157">
                  <c:v>178.06691385732927</c:v>
                </c:pt>
                <c:pt idx="158">
                  <c:v>186.85821357342201</c:v>
                </c:pt>
                <c:pt idx="159">
                  <c:v>196.16664856693194</c:v>
                </c:pt>
                <c:pt idx="160">
                  <c:v>205.99221883785916</c:v>
                </c:pt>
                <c:pt idx="161">
                  <c:v>216.16254596039775</c:v>
                </c:pt>
                <c:pt idx="162">
                  <c:v>227.02238678615939</c:v>
                </c:pt>
                <c:pt idx="163">
                  <c:v>238.22698446353249</c:v>
                </c:pt>
                <c:pt idx="164">
                  <c:v>250.12109584412855</c:v>
                </c:pt>
                <c:pt idx="165">
                  <c:v>262.70472092794751</c:v>
                </c:pt>
                <c:pt idx="166">
                  <c:v>275.80548128918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15-44FD-973A-F27A14EC0B1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31.54525192245039</c:v>
                </c:pt>
                <c:pt idx="123">
                  <c:v>33.269036180507797</c:v>
                </c:pt>
                <c:pt idx="124">
                  <c:v>35.165198864370929</c:v>
                </c:pt>
                <c:pt idx="125">
                  <c:v>37.233739974039807</c:v>
                </c:pt>
                <c:pt idx="126">
                  <c:v>39.474659509514431</c:v>
                </c:pt>
                <c:pt idx="127">
                  <c:v>42.060335896600527</c:v>
                </c:pt>
                <c:pt idx="128">
                  <c:v>45.163147561103841</c:v>
                </c:pt>
                <c:pt idx="129">
                  <c:v>48.093580799801416</c:v>
                </c:pt>
                <c:pt idx="130">
                  <c:v>51.196392464304736</c:v>
                </c:pt>
                <c:pt idx="131">
                  <c:v>54.471582554613796</c:v>
                </c:pt>
                <c:pt idx="132">
                  <c:v>58.091529496534328</c:v>
                </c:pt>
                <c:pt idx="133">
                  <c:v>62.056233290066345</c:v>
                </c:pt>
                <c:pt idx="134">
                  <c:v>66.193315509404115</c:v>
                </c:pt>
                <c:pt idx="135">
                  <c:v>70.502776154547604</c:v>
                </c:pt>
                <c:pt idx="136">
                  <c:v>75.156993651302571</c:v>
                </c:pt>
                <c:pt idx="137">
                  <c:v>80.155967999669031</c:v>
                </c:pt>
                <c:pt idx="138">
                  <c:v>85.499699199646969</c:v>
                </c:pt>
                <c:pt idx="139">
                  <c:v>91.015808825430639</c:v>
                </c:pt>
                <c:pt idx="140">
                  <c:v>96.876675302825788</c:v>
                </c:pt>
                <c:pt idx="141">
                  <c:v>103.25467705763816</c:v>
                </c:pt>
                <c:pt idx="142">
                  <c:v>109.97743566406203</c:v>
                </c:pt>
                <c:pt idx="143">
                  <c:v>117.04495112209736</c:v>
                </c:pt>
                <c:pt idx="144">
                  <c:v>124.62960185754993</c:v>
                </c:pt>
                <c:pt idx="145">
                  <c:v>132.7313878704197</c:v>
                </c:pt>
                <c:pt idx="146">
                  <c:v>141.35030916070667</c:v>
                </c:pt>
                <c:pt idx="147">
                  <c:v>150.4863657284109</c:v>
                </c:pt>
                <c:pt idx="148">
                  <c:v>160.13955757353233</c:v>
                </c:pt>
                <c:pt idx="149">
                  <c:v>170.48226312187671</c:v>
                </c:pt>
                <c:pt idx="150">
                  <c:v>181.51448237344408</c:v>
                </c:pt>
                <c:pt idx="151">
                  <c:v>193.23621532823438</c:v>
                </c:pt>
                <c:pt idx="152">
                  <c:v>205.64746198624763</c:v>
                </c:pt>
                <c:pt idx="153">
                  <c:v>218.92060077328964</c:v>
                </c:pt>
                <c:pt idx="154">
                  <c:v>233.0556316893603</c:v>
                </c:pt>
                <c:pt idx="155">
                  <c:v>248.05255473445968</c:v>
                </c:pt>
                <c:pt idx="156">
                  <c:v>263.91136990858769</c:v>
                </c:pt>
                <c:pt idx="157">
                  <c:v>280.80445563755023</c:v>
                </c:pt>
                <c:pt idx="158">
                  <c:v>298.73181192134717</c:v>
                </c:pt>
                <c:pt idx="159">
                  <c:v>317.86581718578429</c:v>
                </c:pt>
                <c:pt idx="160">
                  <c:v>338.2064714308616</c:v>
                </c:pt>
                <c:pt idx="161">
                  <c:v>359.75377465657908</c:v>
                </c:pt>
                <c:pt idx="162">
                  <c:v>382.68010528874248</c:v>
                </c:pt>
                <c:pt idx="163">
                  <c:v>407.15784175315753</c:v>
                </c:pt>
                <c:pt idx="164">
                  <c:v>433.18698404982428</c:v>
                </c:pt>
                <c:pt idx="165">
                  <c:v>460.76753217874261</c:v>
                </c:pt>
                <c:pt idx="166">
                  <c:v>490.24424299152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115-44FD-973A-F27A14EC0B1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31.54525192245039</c:v>
                </c:pt>
                <c:pt idx="123">
                  <c:v>33.269036180507797</c:v>
                </c:pt>
                <c:pt idx="124">
                  <c:v>35.165198864370929</c:v>
                </c:pt>
                <c:pt idx="125">
                  <c:v>37.233739974039807</c:v>
                </c:pt>
                <c:pt idx="126">
                  <c:v>39.474659509514431</c:v>
                </c:pt>
                <c:pt idx="127">
                  <c:v>42.060335896600527</c:v>
                </c:pt>
                <c:pt idx="128">
                  <c:v>45.163147561103841</c:v>
                </c:pt>
                <c:pt idx="129">
                  <c:v>48.093580799801416</c:v>
                </c:pt>
                <c:pt idx="130">
                  <c:v>51.196392464304736</c:v>
                </c:pt>
                <c:pt idx="131">
                  <c:v>54.471582554613796</c:v>
                </c:pt>
                <c:pt idx="132">
                  <c:v>58.091529496534328</c:v>
                </c:pt>
                <c:pt idx="133">
                  <c:v>62.745746993289302</c:v>
                </c:pt>
                <c:pt idx="134">
                  <c:v>68.08947819326724</c:v>
                </c:pt>
                <c:pt idx="135">
                  <c:v>73.950344670662403</c:v>
                </c:pt>
                <c:pt idx="136">
                  <c:v>80.328346425474777</c:v>
                </c:pt>
                <c:pt idx="137">
                  <c:v>87.395861883510108</c:v>
                </c:pt>
                <c:pt idx="138">
                  <c:v>95.497647896379874</c:v>
                </c:pt>
                <c:pt idx="139">
                  <c:v>104.6337044640841</c:v>
                </c:pt>
                <c:pt idx="140">
                  <c:v>114.28689630920553</c:v>
                </c:pt>
                <c:pt idx="141">
                  <c:v>124.45722343174417</c:v>
                </c:pt>
                <c:pt idx="142">
                  <c:v>135.48944268331152</c:v>
                </c:pt>
                <c:pt idx="143">
                  <c:v>147.72831091551905</c:v>
                </c:pt>
                <c:pt idx="144">
                  <c:v>161.34620655417251</c:v>
                </c:pt>
                <c:pt idx="145">
                  <c:v>176.17075117346613</c:v>
                </c:pt>
                <c:pt idx="146">
                  <c:v>192.20194477339996</c:v>
                </c:pt>
                <c:pt idx="147">
                  <c:v>209.43978735397391</c:v>
                </c:pt>
                <c:pt idx="148">
                  <c:v>228.4014141926053</c:v>
                </c:pt>
                <c:pt idx="149">
                  <c:v>249.25920371509986</c:v>
                </c:pt>
                <c:pt idx="150">
                  <c:v>272.0131559214575</c:v>
                </c:pt>
                <c:pt idx="151">
                  <c:v>296.66327081167827</c:v>
                </c:pt>
                <c:pt idx="152">
                  <c:v>323.38192681156795</c:v>
                </c:pt>
                <c:pt idx="153">
                  <c:v>352.51388077273799</c:v>
                </c:pt>
                <c:pt idx="154">
                  <c:v>380.26680732746212</c:v>
                </c:pt>
                <c:pt idx="155">
                  <c:v>408.0197338821863</c:v>
                </c:pt>
                <c:pt idx="156">
                  <c:v>436.97930941755055</c:v>
                </c:pt>
                <c:pt idx="157">
                  <c:v>467.83504763677797</c:v>
                </c:pt>
                <c:pt idx="158">
                  <c:v>499.55267798503405</c:v>
                </c:pt>
                <c:pt idx="159">
                  <c:v>531.61506518490171</c:v>
                </c:pt>
                <c:pt idx="160">
                  <c:v>563.67745238476937</c:v>
                </c:pt>
                <c:pt idx="161">
                  <c:v>599.53216495236325</c:v>
                </c:pt>
                <c:pt idx="162">
                  <c:v>638.83444603607188</c:v>
                </c:pt>
                <c:pt idx="163">
                  <c:v>680.72240350686673</c:v>
                </c:pt>
                <c:pt idx="164">
                  <c:v>724.16176680991316</c:v>
                </c:pt>
                <c:pt idx="165">
                  <c:v>769.66967122262838</c:v>
                </c:pt>
                <c:pt idx="166">
                  <c:v>818.10800887404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115-44FD-973A-F27A14EC0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5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60</c:v>
                </c:pt>
                <c:pt idx="1">
                  <c:v>68</c:v>
                </c:pt>
                <c:pt idx="2">
                  <c:v>328</c:v>
                </c:pt>
                <c:pt idx="3">
                  <c:v>351</c:v>
                </c:pt>
                <c:pt idx="4">
                  <c:v>277</c:v>
                </c:pt>
                <c:pt idx="5">
                  <c:v>212</c:v>
                </c:pt>
                <c:pt idx="6">
                  <c:v>236</c:v>
                </c:pt>
                <c:pt idx="7">
                  <c:v>131</c:v>
                </c:pt>
                <c:pt idx="8">
                  <c:v>55</c:v>
                </c:pt>
                <c:pt idx="9">
                  <c:v>300</c:v>
                </c:pt>
                <c:pt idx="10">
                  <c:v>254</c:v>
                </c:pt>
                <c:pt idx="11">
                  <c:v>165</c:v>
                </c:pt>
                <c:pt idx="12">
                  <c:v>242</c:v>
                </c:pt>
                <c:pt idx="13">
                  <c:v>175</c:v>
                </c:pt>
                <c:pt idx="14">
                  <c:v>96</c:v>
                </c:pt>
                <c:pt idx="15">
                  <c:v>44</c:v>
                </c:pt>
                <c:pt idx="16">
                  <c:v>162</c:v>
                </c:pt>
                <c:pt idx="17">
                  <c:v>211</c:v>
                </c:pt>
                <c:pt idx="18">
                  <c:v>109</c:v>
                </c:pt>
                <c:pt idx="19">
                  <c:v>115</c:v>
                </c:pt>
                <c:pt idx="20">
                  <c:v>81</c:v>
                </c:pt>
                <c:pt idx="21">
                  <c:v>73</c:v>
                </c:pt>
                <c:pt idx="22">
                  <c:v>27</c:v>
                </c:pt>
                <c:pt idx="23">
                  <c:v>124</c:v>
                </c:pt>
                <c:pt idx="24">
                  <c:v>95</c:v>
                </c:pt>
                <c:pt idx="25">
                  <c:v>81</c:v>
                </c:pt>
                <c:pt idx="26">
                  <c:v>82</c:v>
                </c:pt>
                <c:pt idx="27">
                  <c:v>52</c:v>
                </c:pt>
                <c:pt idx="28">
                  <c:v>23</c:v>
                </c:pt>
                <c:pt idx="29">
                  <c:v>21</c:v>
                </c:pt>
                <c:pt idx="30">
                  <c:v>68</c:v>
                </c:pt>
                <c:pt idx="31">
                  <c:v>78</c:v>
                </c:pt>
                <c:pt idx="32">
                  <c:v>49</c:v>
                </c:pt>
                <c:pt idx="33">
                  <c:v>54</c:v>
                </c:pt>
                <c:pt idx="34">
                  <c:v>43</c:v>
                </c:pt>
                <c:pt idx="35">
                  <c:v>19</c:v>
                </c:pt>
                <c:pt idx="36">
                  <c:v>10</c:v>
                </c:pt>
                <c:pt idx="37">
                  <c:v>46</c:v>
                </c:pt>
                <c:pt idx="38">
                  <c:v>35</c:v>
                </c:pt>
                <c:pt idx="39">
                  <c:v>36</c:v>
                </c:pt>
                <c:pt idx="40">
                  <c:v>19</c:v>
                </c:pt>
                <c:pt idx="41">
                  <c:v>17</c:v>
                </c:pt>
                <c:pt idx="42">
                  <c:v>17</c:v>
                </c:pt>
                <c:pt idx="43">
                  <c:v>7</c:v>
                </c:pt>
                <c:pt idx="44">
                  <c:v>16</c:v>
                </c:pt>
                <c:pt idx="45">
                  <c:v>24</c:v>
                </c:pt>
                <c:pt idx="46">
                  <c:v>14</c:v>
                </c:pt>
                <c:pt idx="47">
                  <c:v>25</c:v>
                </c:pt>
                <c:pt idx="48">
                  <c:v>15</c:v>
                </c:pt>
                <c:pt idx="49">
                  <c:v>5</c:v>
                </c:pt>
                <c:pt idx="50">
                  <c:v>6</c:v>
                </c:pt>
                <c:pt idx="51">
                  <c:v>17</c:v>
                </c:pt>
                <c:pt idx="52">
                  <c:v>15</c:v>
                </c:pt>
                <c:pt idx="53">
                  <c:v>16</c:v>
                </c:pt>
                <c:pt idx="54">
                  <c:v>7</c:v>
                </c:pt>
                <c:pt idx="55">
                  <c:v>15</c:v>
                </c:pt>
                <c:pt idx="56">
                  <c:v>6</c:v>
                </c:pt>
                <c:pt idx="57">
                  <c:v>5</c:v>
                </c:pt>
                <c:pt idx="58">
                  <c:v>16</c:v>
                </c:pt>
                <c:pt idx="59">
                  <c:v>18</c:v>
                </c:pt>
                <c:pt idx="60">
                  <c:v>12</c:v>
                </c:pt>
                <c:pt idx="61">
                  <c:v>15</c:v>
                </c:pt>
                <c:pt idx="62">
                  <c:v>15</c:v>
                </c:pt>
                <c:pt idx="63">
                  <c:v>12</c:v>
                </c:pt>
                <c:pt idx="64">
                  <c:v>0</c:v>
                </c:pt>
                <c:pt idx="65">
                  <c:v>8</c:v>
                </c:pt>
                <c:pt idx="66">
                  <c:v>4</c:v>
                </c:pt>
                <c:pt idx="67">
                  <c:v>21</c:v>
                </c:pt>
                <c:pt idx="68">
                  <c:v>10</c:v>
                </c:pt>
                <c:pt idx="69">
                  <c:v>23</c:v>
                </c:pt>
                <c:pt idx="70">
                  <c:v>10</c:v>
                </c:pt>
                <c:pt idx="71">
                  <c:v>9</c:v>
                </c:pt>
                <c:pt idx="72">
                  <c:v>17</c:v>
                </c:pt>
                <c:pt idx="73">
                  <c:v>27</c:v>
                </c:pt>
                <c:pt idx="74">
                  <c:v>7</c:v>
                </c:pt>
                <c:pt idx="75">
                  <c:v>4</c:v>
                </c:pt>
                <c:pt idx="76">
                  <c:v>18</c:v>
                </c:pt>
                <c:pt idx="77">
                  <c:v>10</c:v>
                </c:pt>
                <c:pt idx="78">
                  <c:v>8</c:v>
                </c:pt>
                <c:pt idx="79">
                  <c:v>16</c:v>
                </c:pt>
                <c:pt idx="80">
                  <c:v>18</c:v>
                </c:pt>
                <c:pt idx="81">
                  <c:v>17</c:v>
                </c:pt>
                <c:pt idx="82">
                  <c:v>11</c:v>
                </c:pt>
                <c:pt idx="83">
                  <c:v>10</c:v>
                </c:pt>
                <c:pt idx="84">
                  <c:v>4</c:v>
                </c:pt>
                <c:pt idx="85">
                  <c:v>4</c:v>
                </c:pt>
                <c:pt idx="86">
                  <c:v>8</c:v>
                </c:pt>
                <c:pt idx="87">
                  <c:v>11</c:v>
                </c:pt>
                <c:pt idx="88">
                  <c:v>8</c:v>
                </c:pt>
                <c:pt idx="89">
                  <c:v>8</c:v>
                </c:pt>
                <c:pt idx="90">
                  <c:v>9</c:v>
                </c:pt>
                <c:pt idx="91">
                  <c:v>8</c:v>
                </c:pt>
                <c:pt idx="92">
                  <c:v>0</c:v>
                </c:pt>
                <c:pt idx="93">
                  <c:v>5</c:v>
                </c:pt>
                <c:pt idx="94">
                  <c:v>14</c:v>
                </c:pt>
                <c:pt idx="95">
                  <c:v>14</c:v>
                </c:pt>
                <c:pt idx="96">
                  <c:v>9</c:v>
                </c:pt>
                <c:pt idx="97">
                  <c:v>8</c:v>
                </c:pt>
                <c:pt idx="98">
                  <c:v>9</c:v>
                </c:pt>
                <c:pt idx="99">
                  <c:v>3</c:v>
                </c:pt>
                <c:pt idx="100">
                  <c:v>13</c:v>
                </c:pt>
                <c:pt idx="101">
                  <c:v>21</c:v>
                </c:pt>
                <c:pt idx="102">
                  <c:v>17</c:v>
                </c:pt>
                <c:pt idx="103">
                  <c:v>12</c:v>
                </c:pt>
                <c:pt idx="104">
                  <c:v>6</c:v>
                </c:pt>
                <c:pt idx="105">
                  <c:v>12</c:v>
                </c:pt>
                <c:pt idx="106">
                  <c:v>6</c:v>
                </c:pt>
                <c:pt idx="107">
                  <c:v>13</c:v>
                </c:pt>
                <c:pt idx="108">
                  <c:v>23</c:v>
                </c:pt>
                <c:pt idx="109">
                  <c:v>15</c:v>
                </c:pt>
                <c:pt idx="110">
                  <c:v>18</c:v>
                </c:pt>
                <c:pt idx="111">
                  <c:v>6</c:v>
                </c:pt>
                <c:pt idx="112">
                  <c:v>6</c:v>
                </c:pt>
                <c:pt idx="113">
                  <c:v>5</c:v>
                </c:pt>
                <c:pt idx="114">
                  <c:v>12</c:v>
                </c:pt>
                <c:pt idx="115">
                  <c:v>12</c:v>
                </c:pt>
                <c:pt idx="116">
                  <c:v>23</c:v>
                </c:pt>
                <c:pt idx="117">
                  <c:v>11</c:v>
                </c:pt>
                <c:pt idx="118">
                  <c:v>13</c:v>
                </c:pt>
                <c:pt idx="119">
                  <c:v>8</c:v>
                </c:pt>
                <c:pt idx="120">
                  <c:v>5</c:v>
                </c:pt>
                <c:pt idx="121">
                  <c:v>21</c:v>
                </c:pt>
                <c:pt idx="122">
                  <c:v>28</c:v>
                </c:pt>
                <c:pt idx="123">
                  <c:v>14</c:v>
                </c:pt>
                <c:pt idx="124">
                  <c:v>22</c:v>
                </c:pt>
                <c:pt idx="125">
                  <c:v>43</c:v>
                </c:pt>
                <c:pt idx="126">
                  <c:v>14</c:v>
                </c:pt>
                <c:pt idx="127">
                  <c:v>8</c:v>
                </c:pt>
                <c:pt idx="128">
                  <c:v>37</c:v>
                </c:pt>
                <c:pt idx="129">
                  <c:v>60</c:v>
                </c:pt>
                <c:pt idx="130">
                  <c:v>52</c:v>
                </c:pt>
                <c:pt idx="131">
                  <c:v>55</c:v>
                </c:pt>
                <c:pt idx="132">
                  <c:v>55</c:v>
                </c:pt>
                <c:pt idx="133">
                  <c:v>40</c:v>
                </c:pt>
                <c:pt idx="134">
                  <c:v>17</c:v>
                </c:pt>
                <c:pt idx="135">
                  <c:v>78</c:v>
                </c:pt>
                <c:pt idx="136">
                  <c:v>83</c:v>
                </c:pt>
                <c:pt idx="137">
                  <c:v>85</c:v>
                </c:pt>
                <c:pt idx="138">
                  <c:v>66</c:v>
                </c:pt>
                <c:pt idx="139">
                  <c:v>88</c:v>
                </c:pt>
                <c:pt idx="140">
                  <c:v>35</c:v>
                </c:pt>
                <c:pt idx="141">
                  <c:v>37</c:v>
                </c:pt>
                <c:pt idx="142">
                  <c:v>96</c:v>
                </c:pt>
                <c:pt idx="143">
                  <c:v>107</c:v>
                </c:pt>
                <c:pt idx="144">
                  <c:v>95</c:v>
                </c:pt>
                <c:pt idx="145">
                  <c:v>98</c:v>
                </c:pt>
                <c:pt idx="146">
                  <c:v>97</c:v>
                </c:pt>
                <c:pt idx="147">
                  <c:v>52</c:v>
                </c:pt>
                <c:pt idx="148">
                  <c:v>30</c:v>
                </c:pt>
                <c:pt idx="149">
                  <c:v>124</c:v>
                </c:pt>
                <c:pt idx="150">
                  <c:v>66</c:v>
                </c:pt>
                <c:pt idx="151">
                  <c:v>95</c:v>
                </c:pt>
                <c:pt idx="152">
                  <c:v>155</c:v>
                </c:pt>
                <c:pt idx="153">
                  <c:v>128</c:v>
                </c:pt>
                <c:pt idx="154">
                  <c:v>86</c:v>
                </c:pt>
                <c:pt idx="155">
                  <c:v>64</c:v>
                </c:pt>
                <c:pt idx="156">
                  <c:v>123</c:v>
                </c:pt>
                <c:pt idx="157">
                  <c:v>224</c:v>
                </c:pt>
                <c:pt idx="158">
                  <c:v>202</c:v>
                </c:pt>
                <c:pt idx="159">
                  <c:v>172</c:v>
                </c:pt>
                <c:pt idx="160">
                  <c:v>209</c:v>
                </c:pt>
                <c:pt idx="161">
                  <c:v>138</c:v>
                </c:pt>
                <c:pt idx="162">
                  <c:v>73</c:v>
                </c:pt>
                <c:pt idx="163">
                  <c:v>240</c:v>
                </c:pt>
                <c:pt idx="164">
                  <c:v>288</c:v>
                </c:pt>
                <c:pt idx="165">
                  <c:v>272</c:v>
                </c:pt>
                <c:pt idx="166">
                  <c:v>252</c:v>
                </c:pt>
                <c:pt idx="167">
                  <c:v>361</c:v>
                </c:pt>
                <c:pt idx="168">
                  <c:v>195</c:v>
                </c:pt>
                <c:pt idx="169">
                  <c:v>181</c:v>
                </c:pt>
                <c:pt idx="170">
                  <c:v>501</c:v>
                </c:pt>
                <c:pt idx="171">
                  <c:v>581</c:v>
                </c:pt>
                <c:pt idx="172">
                  <c:v>594</c:v>
                </c:pt>
                <c:pt idx="173">
                  <c:v>549</c:v>
                </c:pt>
                <c:pt idx="174">
                  <c:v>671</c:v>
                </c:pt>
                <c:pt idx="175">
                  <c:v>460</c:v>
                </c:pt>
                <c:pt idx="176">
                  <c:v>332</c:v>
                </c:pt>
                <c:pt idx="177">
                  <c:v>707</c:v>
                </c:pt>
                <c:pt idx="178">
                  <c:v>926</c:v>
                </c:pt>
                <c:pt idx="179">
                  <c:v>890</c:v>
                </c:pt>
                <c:pt idx="180">
                  <c:v>686</c:v>
                </c:pt>
                <c:pt idx="181">
                  <c:v>921</c:v>
                </c:pt>
                <c:pt idx="182">
                  <c:v>708</c:v>
                </c:pt>
                <c:pt idx="183">
                  <c:v>494</c:v>
                </c:pt>
                <c:pt idx="184">
                  <c:v>1239</c:v>
                </c:pt>
                <c:pt idx="185">
                  <c:v>1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C-425E-A01F-BB5EB831CF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124</c:v>
                </c:pt>
                <c:pt idx="154">
                  <c:v>129</c:v>
                </c:pt>
                <c:pt idx="155">
                  <c:v>134</c:v>
                </c:pt>
                <c:pt idx="156">
                  <c:v>139</c:v>
                </c:pt>
                <c:pt idx="157">
                  <c:v>144</c:v>
                </c:pt>
                <c:pt idx="158">
                  <c:v>150</c:v>
                </c:pt>
                <c:pt idx="159">
                  <c:v>155</c:v>
                </c:pt>
                <c:pt idx="160">
                  <c:v>162</c:v>
                </c:pt>
                <c:pt idx="161">
                  <c:v>168</c:v>
                </c:pt>
                <c:pt idx="162">
                  <c:v>174</c:v>
                </c:pt>
                <c:pt idx="163">
                  <c:v>180</c:v>
                </c:pt>
                <c:pt idx="164">
                  <c:v>187</c:v>
                </c:pt>
                <c:pt idx="165">
                  <c:v>194</c:v>
                </c:pt>
                <c:pt idx="166">
                  <c:v>201</c:v>
                </c:pt>
                <c:pt idx="167">
                  <c:v>208</c:v>
                </c:pt>
                <c:pt idx="168">
                  <c:v>216</c:v>
                </c:pt>
                <c:pt idx="169">
                  <c:v>224</c:v>
                </c:pt>
                <c:pt idx="170">
                  <c:v>232</c:v>
                </c:pt>
                <c:pt idx="171">
                  <c:v>240</c:v>
                </c:pt>
                <c:pt idx="172">
                  <c:v>249</c:v>
                </c:pt>
                <c:pt idx="173">
                  <c:v>258</c:v>
                </c:pt>
                <c:pt idx="174">
                  <c:v>267</c:v>
                </c:pt>
                <c:pt idx="175">
                  <c:v>277</c:v>
                </c:pt>
                <c:pt idx="176">
                  <c:v>287</c:v>
                </c:pt>
                <c:pt idx="177">
                  <c:v>297</c:v>
                </c:pt>
                <c:pt idx="178">
                  <c:v>308</c:v>
                </c:pt>
                <c:pt idx="179">
                  <c:v>319</c:v>
                </c:pt>
                <c:pt idx="180">
                  <c:v>330</c:v>
                </c:pt>
                <c:pt idx="181">
                  <c:v>342</c:v>
                </c:pt>
                <c:pt idx="182">
                  <c:v>354</c:v>
                </c:pt>
                <c:pt idx="183">
                  <c:v>367</c:v>
                </c:pt>
                <c:pt idx="184">
                  <c:v>380</c:v>
                </c:pt>
                <c:pt idx="185">
                  <c:v>393</c:v>
                </c:pt>
                <c:pt idx="186">
                  <c:v>407</c:v>
                </c:pt>
                <c:pt idx="187">
                  <c:v>421</c:v>
                </c:pt>
                <c:pt idx="188">
                  <c:v>436</c:v>
                </c:pt>
                <c:pt idx="189">
                  <c:v>451</c:v>
                </c:pt>
                <c:pt idx="190">
                  <c:v>467</c:v>
                </c:pt>
                <c:pt idx="191">
                  <c:v>484</c:v>
                </c:pt>
                <c:pt idx="192">
                  <c:v>500</c:v>
                </c:pt>
                <c:pt idx="193">
                  <c:v>518</c:v>
                </c:pt>
                <c:pt idx="194">
                  <c:v>536</c:v>
                </c:pt>
                <c:pt idx="195">
                  <c:v>555</c:v>
                </c:pt>
                <c:pt idx="196">
                  <c:v>574</c:v>
                </c:pt>
                <c:pt idx="197">
                  <c:v>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C-425E-A01F-BB5EB831CF7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129</c:v>
                </c:pt>
                <c:pt idx="154">
                  <c:v>137</c:v>
                </c:pt>
                <c:pt idx="155">
                  <c:v>144</c:v>
                </c:pt>
                <c:pt idx="156">
                  <c:v>150</c:v>
                </c:pt>
                <c:pt idx="157">
                  <c:v>157</c:v>
                </c:pt>
                <c:pt idx="158">
                  <c:v>166</c:v>
                </c:pt>
                <c:pt idx="159">
                  <c:v>175</c:v>
                </c:pt>
                <c:pt idx="160">
                  <c:v>185</c:v>
                </c:pt>
                <c:pt idx="161">
                  <c:v>194</c:v>
                </c:pt>
                <c:pt idx="162">
                  <c:v>204</c:v>
                </c:pt>
                <c:pt idx="163">
                  <c:v>214</c:v>
                </c:pt>
                <c:pt idx="164">
                  <c:v>225</c:v>
                </c:pt>
                <c:pt idx="165">
                  <c:v>237</c:v>
                </c:pt>
                <c:pt idx="166">
                  <c:v>249</c:v>
                </c:pt>
                <c:pt idx="167">
                  <c:v>262</c:v>
                </c:pt>
                <c:pt idx="168">
                  <c:v>275</c:v>
                </c:pt>
                <c:pt idx="169">
                  <c:v>289</c:v>
                </c:pt>
                <c:pt idx="170">
                  <c:v>304</c:v>
                </c:pt>
                <c:pt idx="171">
                  <c:v>320</c:v>
                </c:pt>
                <c:pt idx="172">
                  <c:v>336</c:v>
                </c:pt>
                <c:pt idx="173">
                  <c:v>353</c:v>
                </c:pt>
                <c:pt idx="174">
                  <c:v>371</c:v>
                </c:pt>
                <c:pt idx="175">
                  <c:v>390</c:v>
                </c:pt>
                <c:pt idx="176">
                  <c:v>409</c:v>
                </c:pt>
                <c:pt idx="177">
                  <c:v>430</c:v>
                </c:pt>
                <c:pt idx="178">
                  <c:v>452</c:v>
                </c:pt>
                <c:pt idx="179">
                  <c:v>475</c:v>
                </c:pt>
                <c:pt idx="180">
                  <c:v>499</c:v>
                </c:pt>
                <c:pt idx="181">
                  <c:v>523</c:v>
                </c:pt>
                <c:pt idx="182">
                  <c:v>550</c:v>
                </c:pt>
                <c:pt idx="183">
                  <c:v>578</c:v>
                </c:pt>
                <c:pt idx="184">
                  <c:v>606</c:v>
                </c:pt>
                <c:pt idx="185">
                  <c:v>637</c:v>
                </c:pt>
                <c:pt idx="186">
                  <c:v>668</c:v>
                </c:pt>
                <c:pt idx="187">
                  <c:v>702</c:v>
                </c:pt>
                <c:pt idx="188">
                  <c:v>737</c:v>
                </c:pt>
                <c:pt idx="189">
                  <c:v>774</c:v>
                </c:pt>
                <c:pt idx="190">
                  <c:v>812</c:v>
                </c:pt>
                <c:pt idx="191">
                  <c:v>853</c:v>
                </c:pt>
                <c:pt idx="192">
                  <c:v>895</c:v>
                </c:pt>
                <c:pt idx="193">
                  <c:v>940</c:v>
                </c:pt>
                <c:pt idx="194">
                  <c:v>987</c:v>
                </c:pt>
                <c:pt idx="195">
                  <c:v>1036</c:v>
                </c:pt>
                <c:pt idx="196">
                  <c:v>1087</c:v>
                </c:pt>
                <c:pt idx="197">
                  <c:v>1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C-425E-A01F-BB5EB831CF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134</c:v>
                </c:pt>
                <c:pt idx="154">
                  <c:v>144</c:v>
                </c:pt>
                <c:pt idx="155">
                  <c:v>153</c:v>
                </c:pt>
                <c:pt idx="156">
                  <c:v>160</c:v>
                </c:pt>
                <c:pt idx="157">
                  <c:v>170</c:v>
                </c:pt>
                <c:pt idx="158">
                  <c:v>182</c:v>
                </c:pt>
                <c:pt idx="159">
                  <c:v>195</c:v>
                </c:pt>
                <c:pt idx="160">
                  <c:v>210</c:v>
                </c:pt>
                <c:pt idx="161">
                  <c:v>223</c:v>
                </c:pt>
                <c:pt idx="162">
                  <c:v>236</c:v>
                </c:pt>
                <c:pt idx="163">
                  <c:v>251</c:v>
                </c:pt>
                <c:pt idx="164">
                  <c:v>268</c:v>
                </c:pt>
                <c:pt idx="165">
                  <c:v>287</c:v>
                </c:pt>
                <c:pt idx="166">
                  <c:v>306</c:v>
                </c:pt>
                <c:pt idx="167">
                  <c:v>325</c:v>
                </c:pt>
                <c:pt idx="168">
                  <c:v>345</c:v>
                </c:pt>
                <c:pt idx="169">
                  <c:v>368</c:v>
                </c:pt>
                <c:pt idx="170">
                  <c:v>392</c:v>
                </c:pt>
                <c:pt idx="171">
                  <c:v>418</c:v>
                </c:pt>
                <c:pt idx="172">
                  <c:v>445</c:v>
                </c:pt>
                <c:pt idx="173">
                  <c:v>474</c:v>
                </c:pt>
                <c:pt idx="174">
                  <c:v>504</c:v>
                </c:pt>
                <c:pt idx="175">
                  <c:v>537</c:v>
                </c:pt>
                <c:pt idx="176">
                  <c:v>572</c:v>
                </c:pt>
                <c:pt idx="177">
                  <c:v>609</c:v>
                </c:pt>
                <c:pt idx="178">
                  <c:v>648</c:v>
                </c:pt>
                <c:pt idx="179">
                  <c:v>689</c:v>
                </c:pt>
                <c:pt idx="180">
                  <c:v>734</c:v>
                </c:pt>
                <c:pt idx="181">
                  <c:v>781</c:v>
                </c:pt>
                <c:pt idx="182">
                  <c:v>831</c:v>
                </c:pt>
                <c:pt idx="183">
                  <c:v>884</c:v>
                </c:pt>
                <c:pt idx="184">
                  <c:v>941</c:v>
                </c:pt>
                <c:pt idx="185">
                  <c:v>1001</c:v>
                </c:pt>
                <c:pt idx="186">
                  <c:v>1065</c:v>
                </c:pt>
                <c:pt idx="187">
                  <c:v>1134</c:v>
                </c:pt>
                <c:pt idx="188">
                  <c:v>1207</c:v>
                </c:pt>
                <c:pt idx="189">
                  <c:v>1284</c:v>
                </c:pt>
                <c:pt idx="190">
                  <c:v>1366</c:v>
                </c:pt>
                <c:pt idx="191">
                  <c:v>1453</c:v>
                </c:pt>
                <c:pt idx="192">
                  <c:v>1546</c:v>
                </c:pt>
                <c:pt idx="193">
                  <c:v>1645</c:v>
                </c:pt>
                <c:pt idx="194">
                  <c:v>1750</c:v>
                </c:pt>
                <c:pt idx="195">
                  <c:v>1862</c:v>
                </c:pt>
                <c:pt idx="196">
                  <c:v>1980</c:v>
                </c:pt>
                <c:pt idx="197">
                  <c:v>2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2C-425E-A01F-BB5EB831CF7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134</c:v>
                </c:pt>
                <c:pt idx="154">
                  <c:v>144</c:v>
                </c:pt>
                <c:pt idx="155">
                  <c:v>153</c:v>
                </c:pt>
                <c:pt idx="156">
                  <c:v>160</c:v>
                </c:pt>
                <c:pt idx="157">
                  <c:v>170</c:v>
                </c:pt>
                <c:pt idx="158">
                  <c:v>182</c:v>
                </c:pt>
                <c:pt idx="159">
                  <c:v>195</c:v>
                </c:pt>
                <c:pt idx="160">
                  <c:v>210</c:v>
                </c:pt>
                <c:pt idx="161">
                  <c:v>223</c:v>
                </c:pt>
                <c:pt idx="162">
                  <c:v>236</c:v>
                </c:pt>
                <c:pt idx="163">
                  <c:v>251</c:v>
                </c:pt>
                <c:pt idx="164">
                  <c:v>286</c:v>
                </c:pt>
                <c:pt idx="165">
                  <c:v>316</c:v>
                </c:pt>
                <c:pt idx="166">
                  <c:v>342</c:v>
                </c:pt>
                <c:pt idx="167">
                  <c:v>367</c:v>
                </c:pt>
                <c:pt idx="168">
                  <c:v>399</c:v>
                </c:pt>
                <c:pt idx="169">
                  <c:v>437</c:v>
                </c:pt>
                <c:pt idx="170">
                  <c:v>480</c:v>
                </c:pt>
                <c:pt idx="171">
                  <c:v>527</c:v>
                </c:pt>
                <c:pt idx="172">
                  <c:v>573</c:v>
                </c:pt>
                <c:pt idx="173">
                  <c:v>622</c:v>
                </c:pt>
                <c:pt idx="174">
                  <c:v>677</c:v>
                </c:pt>
                <c:pt idx="175">
                  <c:v>741</c:v>
                </c:pt>
                <c:pt idx="176">
                  <c:v>811</c:v>
                </c:pt>
                <c:pt idx="177">
                  <c:v>884</c:v>
                </c:pt>
                <c:pt idx="178">
                  <c:v>963</c:v>
                </c:pt>
                <c:pt idx="179">
                  <c:v>1048</c:v>
                </c:pt>
                <c:pt idx="180">
                  <c:v>1143</c:v>
                </c:pt>
                <c:pt idx="181">
                  <c:v>1248</c:v>
                </c:pt>
                <c:pt idx="182">
                  <c:v>1363</c:v>
                </c:pt>
                <c:pt idx="183">
                  <c:v>1486</c:v>
                </c:pt>
                <c:pt idx="184">
                  <c:v>1619</c:v>
                </c:pt>
                <c:pt idx="185">
                  <c:v>1660</c:v>
                </c:pt>
                <c:pt idx="186">
                  <c:v>1750</c:v>
                </c:pt>
                <c:pt idx="187">
                  <c:v>1875</c:v>
                </c:pt>
                <c:pt idx="188">
                  <c:v>2025</c:v>
                </c:pt>
                <c:pt idx="189">
                  <c:v>2160</c:v>
                </c:pt>
                <c:pt idx="190">
                  <c:v>2290</c:v>
                </c:pt>
                <c:pt idx="191">
                  <c:v>2424</c:v>
                </c:pt>
                <c:pt idx="192">
                  <c:v>2564</c:v>
                </c:pt>
                <c:pt idx="193">
                  <c:v>2738</c:v>
                </c:pt>
                <c:pt idx="194">
                  <c:v>2927</c:v>
                </c:pt>
                <c:pt idx="195">
                  <c:v>3119</c:v>
                </c:pt>
                <c:pt idx="196">
                  <c:v>3307</c:v>
                </c:pt>
                <c:pt idx="197">
                  <c:v>3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2C-425E-A01F-BB5EB831C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08320959864159E-2"/>
          <c:y val="0.13849499407537877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B$336:$B$441</c:f>
              <c:numCache>
                <c:formatCode>0</c:formatCode>
                <c:ptCount val="106"/>
                <c:pt idx="0">
                  <c:v>23</c:v>
                </c:pt>
                <c:pt idx="1">
                  <c:v>43</c:v>
                </c:pt>
                <c:pt idx="2">
                  <c:v>64</c:v>
                </c:pt>
                <c:pt idx="3">
                  <c:v>44</c:v>
                </c:pt>
                <c:pt idx="4">
                  <c:v>34</c:v>
                </c:pt>
                <c:pt idx="5">
                  <c:v>42</c:v>
                </c:pt>
                <c:pt idx="6">
                  <c:v>55</c:v>
                </c:pt>
                <c:pt idx="7">
                  <c:v>31</c:v>
                </c:pt>
                <c:pt idx="8">
                  <c:v>39</c:v>
                </c:pt>
                <c:pt idx="9">
                  <c:v>87</c:v>
                </c:pt>
                <c:pt idx="10">
                  <c:v>51</c:v>
                </c:pt>
                <c:pt idx="11">
                  <c:v>56</c:v>
                </c:pt>
                <c:pt idx="12">
                  <c:v>80</c:v>
                </c:pt>
                <c:pt idx="13">
                  <c:v>42</c:v>
                </c:pt>
                <c:pt idx="14">
                  <c:v>28</c:v>
                </c:pt>
                <c:pt idx="15">
                  <c:v>67</c:v>
                </c:pt>
                <c:pt idx="16">
                  <c:v>63</c:v>
                </c:pt>
                <c:pt idx="17">
                  <c:v>49</c:v>
                </c:pt>
                <c:pt idx="18">
                  <c:v>55</c:v>
                </c:pt>
                <c:pt idx="19">
                  <c:v>66</c:v>
                </c:pt>
                <c:pt idx="20">
                  <c:v>46</c:v>
                </c:pt>
                <c:pt idx="21">
                  <c:v>43</c:v>
                </c:pt>
                <c:pt idx="22">
                  <c:v>51</c:v>
                </c:pt>
                <c:pt idx="23">
                  <c:v>74</c:v>
                </c:pt>
                <c:pt idx="24">
                  <c:v>71</c:v>
                </c:pt>
                <c:pt idx="25">
                  <c:v>63</c:v>
                </c:pt>
                <c:pt idx="26">
                  <c:v>46</c:v>
                </c:pt>
                <c:pt idx="27">
                  <c:v>41</c:v>
                </c:pt>
                <c:pt idx="28">
                  <c:v>24</c:v>
                </c:pt>
                <c:pt idx="29">
                  <c:v>59</c:v>
                </c:pt>
                <c:pt idx="30">
                  <c:v>66</c:v>
                </c:pt>
                <c:pt idx="31">
                  <c:v>48</c:v>
                </c:pt>
                <c:pt idx="32">
                  <c:v>57</c:v>
                </c:pt>
                <c:pt idx="33">
                  <c:v>58</c:v>
                </c:pt>
                <c:pt idx="34">
                  <c:v>46</c:v>
                </c:pt>
                <c:pt idx="35">
                  <c:v>29</c:v>
                </c:pt>
                <c:pt idx="36">
                  <c:v>94</c:v>
                </c:pt>
                <c:pt idx="37">
                  <c:v>146</c:v>
                </c:pt>
                <c:pt idx="38">
                  <c:v>68</c:v>
                </c:pt>
                <c:pt idx="39">
                  <c:v>89</c:v>
                </c:pt>
                <c:pt idx="40">
                  <c:v>70</c:v>
                </c:pt>
                <c:pt idx="41">
                  <c:v>52</c:v>
                </c:pt>
                <c:pt idx="42">
                  <c:v>36</c:v>
                </c:pt>
                <c:pt idx="43">
                  <c:v>94</c:v>
                </c:pt>
                <c:pt idx="44">
                  <c:v>121</c:v>
                </c:pt>
                <c:pt idx="45">
                  <c:v>113</c:v>
                </c:pt>
                <c:pt idx="46">
                  <c:v>122</c:v>
                </c:pt>
                <c:pt idx="47">
                  <c:v>72</c:v>
                </c:pt>
                <c:pt idx="48">
                  <c:v>67</c:v>
                </c:pt>
                <c:pt idx="49">
                  <c:v>54</c:v>
                </c:pt>
                <c:pt idx="50">
                  <c:v>110</c:v>
                </c:pt>
                <c:pt idx="51">
                  <c:v>124</c:v>
                </c:pt>
                <c:pt idx="52">
                  <c:v>112</c:v>
                </c:pt>
                <c:pt idx="53">
                  <c:v>109</c:v>
                </c:pt>
                <c:pt idx="54">
                  <c:v>100</c:v>
                </c:pt>
                <c:pt idx="55">
                  <c:v>82</c:v>
                </c:pt>
                <c:pt idx="56">
                  <c:v>62</c:v>
                </c:pt>
                <c:pt idx="57">
                  <c:v>110</c:v>
                </c:pt>
                <c:pt idx="58">
                  <c:v>85</c:v>
                </c:pt>
                <c:pt idx="59">
                  <c:v>154</c:v>
                </c:pt>
                <c:pt idx="60">
                  <c:v>141</c:v>
                </c:pt>
                <c:pt idx="61">
                  <c:v>140</c:v>
                </c:pt>
                <c:pt idx="62">
                  <c:v>112</c:v>
                </c:pt>
                <c:pt idx="63">
                  <c:v>66</c:v>
                </c:pt>
                <c:pt idx="64">
                  <c:v>134</c:v>
                </c:pt>
                <c:pt idx="65">
                  <c:v>174</c:v>
                </c:pt>
                <c:pt idx="66">
                  <c:v>137</c:v>
                </c:pt>
                <c:pt idx="67">
                  <c:v>157</c:v>
                </c:pt>
                <c:pt idx="68">
                  <c:v>182</c:v>
                </c:pt>
                <c:pt idx="69">
                  <c:v>128</c:v>
                </c:pt>
                <c:pt idx="70">
                  <c:v>67</c:v>
                </c:pt>
                <c:pt idx="71">
                  <c:v>214</c:v>
                </c:pt>
                <c:pt idx="72">
                  <c:v>181</c:v>
                </c:pt>
                <c:pt idx="73">
                  <c:v>226</c:v>
                </c:pt>
                <c:pt idx="74">
                  <c:v>204</c:v>
                </c:pt>
                <c:pt idx="75">
                  <c:v>224</c:v>
                </c:pt>
                <c:pt idx="76">
                  <c:v>196</c:v>
                </c:pt>
                <c:pt idx="77">
                  <c:v>151</c:v>
                </c:pt>
                <c:pt idx="78">
                  <c:v>373</c:v>
                </c:pt>
                <c:pt idx="79">
                  <c:v>406</c:v>
                </c:pt>
                <c:pt idx="80">
                  <c:v>496</c:v>
                </c:pt>
                <c:pt idx="81">
                  <c:v>554</c:v>
                </c:pt>
                <c:pt idx="82">
                  <c:v>544</c:v>
                </c:pt>
                <c:pt idx="83">
                  <c:v>505</c:v>
                </c:pt>
                <c:pt idx="84">
                  <c:v>318</c:v>
                </c:pt>
                <c:pt idx="85">
                  <c:v>592</c:v>
                </c:pt>
                <c:pt idx="86">
                  <c:v>936</c:v>
                </c:pt>
                <c:pt idx="87">
                  <c:v>849</c:v>
                </c:pt>
                <c:pt idx="88">
                  <c:v>692</c:v>
                </c:pt>
                <c:pt idx="89">
                  <c:v>728</c:v>
                </c:pt>
                <c:pt idx="90">
                  <c:v>675</c:v>
                </c:pt>
                <c:pt idx="91">
                  <c:v>402</c:v>
                </c:pt>
                <c:pt idx="92">
                  <c:v>881</c:v>
                </c:pt>
                <c:pt idx="93">
                  <c:v>1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C$336:$C$441</c:f>
              <c:numCache>
                <c:formatCode>General</c:formatCode>
                <c:ptCount val="10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0F-4962-9CCB-3A06EAB110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D$336:$D$441</c:f>
              <c:numCache>
                <c:formatCode>General</c:formatCode>
                <c:ptCount val="106"/>
                <c:pt idx="61">
                  <c:v>147</c:v>
                </c:pt>
                <c:pt idx="62">
                  <c:v>153</c:v>
                </c:pt>
                <c:pt idx="63">
                  <c:v>159</c:v>
                </c:pt>
                <c:pt idx="64">
                  <c:v>165</c:v>
                </c:pt>
                <c:pt idx="65">
                  <c:v>171</c:v>
                </c:pt>
                <c:pt idx="66">
                  <c:v>177</c:v>
                </c:pt>
                <c:pt idx="67">
                  <c:v>184</c:v>
                </c:pt>
                <c:pt idx="68">
                  <c:v>191</c:v>
                </c:pt>
                <c:pt idx="69">
                  <c:v>198</c:v>
                </c:pt>
                <c:pt idx="70">
                  <c:v>206</c:v>
                </c:pt>
                <c:pt idx="71">
                  <c:v>213</c:v>
                </c:pt>
                <c:pt idx="72">
                  <c:v>221</c:v>
                </c:pt>
                <c:pt idx="73">
                  <c:v>229</c:v>
                </c:pt>
                <c:pt idx="74">
                  <c:v>238</c:v>
                </c:pt>
                <c:pt idx="75">
                  <c:v>247</c:v>
                </c:pt>
                <c:pt idx="76">
                  <c:v>256</c:v>
                </c:pt>
                <c:pt idx="77">
                  <c:v>265</c:v>
                </c:pt>
                <c:pt idx="78">
                  <c:v>275</c:v>
                </c:pt>
                <c:pt idx="79">
                  <c:v>285</c:v>
                </c:pt>
                <c:pt idx="80">
                  <c:v>295</c:v>
                </c:pt>
                <c:pt idx="81">
                  <c:v>305</c:v>
                </c:pt>
                <c:pt idx="82">
                  <c:v>317</c:v>
                </c:pt>
                <c:pt idx="83">
                  <c:v>328</c:v>
                </c:pt>
                <c:pt idx="84">
                  <c:v>340</c:v>
                </c:pt>
                <c:pt idx="85">
                  <c:v>352</c:v>
                </c:pt>
                <c:pt idx="86">
                  <c:v>364</c:v>
                </c:pt>
                <c:pt idx="87">
                  <c:v>378</c:v>
                </c:pt>
                <c:pt idx="88">
                  <c:v>391</c:v>
                </c:pt>
                <c:pt idx="89">
                  <c:v>405</c:v>
                </c:pt>
                <c:pt idx="90">
                  <c:v>419</c:v>
                </c:pt>
                <c:pt idx="91">
                  <c:v>434</c:v>
                </c:pt>
                <c:pt idx="92">
                  <c:v>449</c:v>
                </c:pt>
                <c:pt idx="93">
                  <c:v>465</c:v>
                </c:pt>
                <c:pt idx="94">
                  <c:v>482</c:v>
                </c:pt>
                <c:pt idx="95">
                  <c:v>499</c:v>
                </c:pt>
                <c:pt idx="96">
                  <c:v>516</c:v>
                </c:pt>
                <c:pt idx="97">
                  <c:v>534</c:v>
                </c:pt>
                <c:pt idx="98">
                  <c:v>553</c:v>
                </c:pt>
                <c:pt idx="99">
                  <c:v>573</c:v>
                </c:pt>
                <c:pt idx="100">
                  <c:v>593</c:v>
                </c:pt>
                <c:pt idx="101">
                  <c:v>613</c:v>
                </c:pt>
                <c:pt idx="102">
                  <c:v>635</c:v>
                </c:pt>
                <c:pt idx="103">
                  <c:v>657</c:v>
                </c:pt>
                <c:pt idx="104">
                  <c:v>680</c:v>
                </c:pt>
                <c:pt idx="105">
                  <c:v>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0F-4962-9CCB-3A06EAB110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E$336:$E$441</c:f>
              <c:numCache>
                <c:formatCode>General</c:formatCode>
                <c:ptCount val="106"/>
                <c:pt idx="61">
                  <c:v>153</c:v>
                </c:pt>
                <c:pt idx="62">
                  <c:v>162</c:v>
                </c:pt>
                <c:pt idx="63">
                  <c:v>170</c:v>
                </c:pt>
                <c:pt idx="64">
                  <c:v>177</c:v>
                </c:pt>
                <c:pt idx="65">
                  <c:v>186</c:v>
                </c:pt>
                <c:pt idx="66">
                  <c:v>196</c:v>
                </c:pt>
                <c:pt idx="67">
                  <c:v>207</c:v>
                </c:pt>
                <c:pt idx="68">
                  <c:v>219</c:v>
                </c:pt>
                <c:pt idx="69">
                  <c:v>230</c:v>
                </c:pt>
                <c:pt idx="70">
                  <c:v>241</c:v>
                </c:pt>
                <c:pt idx="71">
                  <c:v>253</c:v>
                </c:pt>
                <c:pt idx="72">
                  <c:v>267</c:v>
                </c:pt>
                <c:pt idx="73">
                  <c:v>281</c:v>
                </c:pt>
                <c:pt idx="74">
                  <c:v>295</c:v>
                </c:pt>
                <c:pt idx="75">
                  <c:v>310</c:v>
                </c:pt>
                <c:pt idx="76">
                  <c:v>326</c:v>
                </c:pt>
                <c:pt idx="77">
                  <c:v>342</c:v>
                </c:pt>
                <c:pt idx="78">
                  <c:v>360</c:v>
                </c:pt>
                <c:pt idx="79">
                  <c:v>379</c:v>
                </c:pt>
                <c:pt idx="80">
                  <c:v>398</c:v>
                </c:pt>
                <c:pt idx="81">
                  <c:v>418</c:v>
                </c:pt>
                <c:pt idx="82">
                  <c:v>439</c:v>
                </c:pt>
                <c:pt idx="83">
                  <c:v>462</c:v>
                </c:pt>
                <c:pt idx="84">
                  <c:v>485</c:v>
                </c:pt>
                <c:pt idx="85">
                  <c:v>510</c:v>
                </c:pt>
                <c:pt idx="86">
                  <c:v>535</c:v>
                </c:pt>
                <c:pt idx="87">
                  <c:v>562</c:v>
                </c:pt>
                <c:pt idx="88">
                  <c:v>590</c:v>
                </c:pt>
                <c:pt idx="89">
                  <c:v>620</c:v>
                </c:pt>
                <c:pt idx="90">
                  <c:v>651</c:v>
                </c:pt>
                <c:pt idx="91">
                  <c:v>684</c:v>
                </c:pt>
                <c:pt idx="92">
                  <c:v>718</c:v>
                </c:pt>
                <c:pt idx="93">
                  <c:v>754</c:v>
                </c:pt>
                <c:pt idx="94">
                  <c:v>792</c:v>
                </c:pt>
                <c:pt idx="95">
                  <c:v>831</c:v>
                </c:pt>
                <c:pt idx="96">
                  <c:v>873</c:v>
                </c:pt>
                <c:pt idx="97">
                  <c:v>916</c:v>
                </c:pt>
                <c:pt idx="98">
                  <c:v>962</c:v>
                </c:pt>
                <c:pt idx="99">
                  <c:v>1010</c:v>
                </c:pt>
                <c:pt idx="100">
                  <c:v>1060</c:v>
                </c:pt>
                <c:pt idx="101">
                  <c:v>1113</c:v>
                </c:pt>
                <c:pt idx="102">
                  <c:v>1168</c:v>
                </c:pt>
                <c:pt idx="103">
                  <c:v>1226</c:v>
                </c:pt>
                <c:pt idx="104">
                  <c:v>1287</c:v>
                </c:pt>
                <c:pt idx="105">
                  <c:v>1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0F-4962-9CCB-3A06EAB110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F$336:$F$441</c:f>
              <c:numCache>
                <c:formatCode>General</c:formatCode>
                <c:ptCount val="106"/>
                <c:pt idx="61">
                  <c:v>158</c:v>
                </c:pt>
                <c:pt idx="62">
                  <c:v>171</c:v>
                </c:pt>
                <c:pt idx="63">
                  <c:v>181</c:v>
                </c:pt>
                <c:pt idx="64">
                  <c:v>189</c:v>
                </c:pt>
                <c:pt idx="65">
                  <c:v>201</c:v>
                </c:pt>
                <c:pt idx="66">
                  <c:v>215</c:v>
                </c:pt>
                <c:pt idx="67">
                  <c:v>231</c:v>
                </c:pt>
                <c:pt idx="68">
                  <c:v>248</c:v>
                </c:pt>
                <c:pt idx="69">
                  <c:v>263</c:v>
                </c:pt>
                <c:pt idx="70">
                  <c:v>279</c:v>
                </c:pt>
                <c:pt idx="71">
                  <c:v>297</c:v>
                </c:pt>
                <c:pt idx="72">
                  <c:v>318</c:v>
                </c:pt>
                <c:pt idx="73">
                  <c:v>339</c:v>
                </c:pt>
                <c:pt idx="74">
                  <c:v>362</c:v>
                </c:pt>
                <c:pt idx="75">
                  <c:v>385</c:v>
                </c:pt>
                <c:pt idx="76">
                  <c:v>409</c:v>
                </c:pt>
                <c:pt idx="77">
                  <c:v>436</c:v>
                </c:pt>
                <c:pt idx="78">
                  <c:v>464</c:v>
                </c:pt>
                <c:pt idx="79">
                  <c:v>495</c:v>
                </c:pt>
                <c:pt idx="80">
                  <c:v>527</c:v>
                </c:pt>
                <c:pt idx="81">
                  <c:v>561</c:v>
                </c:pt>
                <c:pt idx="82">
                  <c:v>597</c:v>
                </c:pt>
                <c:pt idx="83">
                  <c:v>635</c:v>
                </c:pt>
                <c:pt idx="84">
                  <c:v>677</c:v>
                </c:pt>
                <c:pt idx="85">
                  <c:v>721</c:v>
                </c:pt>
                <c:pt idx="86">
                  <c:v>767</c:v>
                </c:pt>
                <c:pt idx="87">
                  <c:v>816</c:v>
                </c:pt>
                <c:pt idx="88">
                  <c:v>869</c:v>
                </c:pt>
                <c:pt idx="89">
                  <c:v>925</c:v>
                </c:pt>
                <c:pt idx="90">
                  <c:v>984</c:v>
                </c:pt>
                <c:pt idx="91">
                  <c:v>1047</c:v>
                </c:pt>
                <c:pt idx="92">
                  <c:v>1115</c:v>
                </c:pt>
                <c:pt idx="93">
                  <c:v>1186</c:v>
                </c:pt>
                <c:pt idx="94">
                  <c:v>1262</c:v>
                </c:pt>
                <c:pt idx="95">
                  <c:v>1343</c:v>
                </c:pt>
                <c:pt idx="96">
                  <c:v>1429</c:v>
                </c:pt>
                <c:pt idx="97">
                  <c:v>1520</c:v>
                </c:pt>
                <c:pt idx="98">
                  <c:v>1617</c:v>
                </c:pt>
                <c:pt idx="99">
                  <c:v>1721</c:v>
                </c:pt>
                <c:pt idx="100">
                  <c:v>1831</c:v>
                </c:pt>
                <c:pt idx="101">
                  <c:v>1948</c:v>
                </c:pt>
                <c:pt idx="102">
                  <c:v>2072</c:v>
                </c:pt>
                <c:pt idx="103">
                  <c:v>2204</c:v>
                </c:pt>
                <c:pt idx="104">
                  <c:v>2345</c:v>
                </c:pt>
                <c:pt idx="105">
                  <c:v>2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F-4962-9CCB-3A06EAB110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4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336:$A$441</c:f>
              <c:numCache>
                <c:formatCode>m/d/yyyy</c:formatCode>
                <c:ptCount val="106"/>
                <c:pt idx="0">
                  <c:v>44409</c:v>
                </c:pt>
                <c:pt idx="1">
                  <c:v>44410</c:v>
                </c:pt>
                <c:pt idx="2">
                  <c:v>44411</c:v>
                </c:pt>
                <c:pt idx="3">
                  <c:v>44412</c:v>
                </c:pt>
                <c:pt idx="4">
                  <c:v>44413</c:v>
                </c:pt>
                <c:pt idx="5">
                  <c:v>44414</c:v>
                </c:pt>
                <c:pt idx="6">
                  <c:v>44415</c:v>
                </c:pt>
                <c:pt idx="7">
                  <c:v>44416</c:v>
                </c:pt>
                <c:pt idx="8">
                  <c:v>44417</c:v>
                </c:pt>
                <c:pt idx="9">
                  <c:v>44418</c:v>
                </c:pt>
                <c:pt idx="10">
                  <c:v>44419</c:v>
                </c:pt>
                <c:pt idx="11">
                  <c:v>44420</c:v>
                </c:pt>
                <c:pt idx="12">
                  <c:v>44421</c:v>
                </c:pt>
                <c:pt idx="13">
                  <c:v>44422</c:v>
                </c:pt>
                <c:pt idx="14">
                  <c:v>44423</c:v>
                </c:pt>
                <c:pt idx="15">
                  <c:v>44424</c:v>
                </c:pt>
                <c:pt idx="16">
                  <c:v>44425</c:v>
                </c:pt>
                <c:pt idx="17">
                  <c:v>44426</c:v>
                </c:pt>
                <c:pt idx="18">
                  <c:v>44427</c:v>
                </c:pt>
                <c:pt idx="19">
                  <c:v>44428</c:v>
                </c:pt>
                <c:pt idx="20">
                  <c:v>44429</c:v>
                </c:pt>
                <c:pt idx="21">
                  <c:v>44430</c:v>
                </c:pt>
                <c:pt idx="22">
                  <c:v>44431</c:v>
                </c:pt>
                <c:pt idx="23">
                  <c:v>44432</c:v>
                </c:pt>
                <c:pt idx="24">
                  <c:v>44433</c:v>
                </c:pt>
                <c:pt idx="25">
                  <c:v>44434</c:v>
                </c:pt>
                <c:pt idx="26">
                  <c:v>44435</c:v>
                </c:pt>
                <c:pt idx="27">
                  <c:v>44436</c:v>
                </c:pt>
                <c:pt idx="28">
                  <c:v>44437</c:v>
                </c:pt>
                <c:pt idx="29">
                  <c:v>44438</c:v>
                </c:pt>
                <c:pt idx="30">
                  <c:v>44439</c:v>
                </c:pt>
                <c:pt idx="31">
                  <c:v>44440</c:v>
                </c:pt>
                <c:pt idx="32">
                  <c:v>44441</c:v>
                </c:pt>
                <c:pt idx="33">
                  <c:v>44442</c:v>
                </c:pt>
                <c:pt idx="34">
                  <c:v>44443</c:v>
                </c:pt>
                <c:pt idx="35">
                  <c:v>44444</c:v>
                </c:pt>
                <c:pt idx="36">
                  <c:v>44445</c:v>
                </c:pt>
                <c:pt idx="37">
                  <c:v>44446</c:v>
                </c:pt>
                <c:pt idx="38">
                  <c:v>44447</c:v>
                </c:pt>
                <c:pt idx="39">
                  <c:v>44448</c:v>
                </c:pt>
                <c:pt idx="40">
                  <c:v>44449</c:v>
                </c:pt>
                <c:pt idx="41">
                  <c:v>44450</c:v>
                </c:pt>
                <c:pt idx="42">
                  <c:v>44451</c:v>
                </c:pt>
                <c:pt idx="43">
                  <c:v>44452</c:v>
                </c:pt>
                <c:pt idx="44">
                  <c:v>44453</c:v>
                </c:pt>
                <c:pt idx="45">
                  <c:v>44454</c:v>
                </c:pt>
                <c:pt idx="46">
                  <c:v>44455</c:v>
                </c:pt>
                <c:pt idx="47">
                  <c:v>44456</c:v>
                </c:pt>
                <c:pt idx="48">
                  <c:v>44457</c:v>
                </c:pt>
                <c:pt idx="49">
                  <c:v>44458</c:v>
                </c:pt>
                <c:pt idx="50">
                  <c:v>44459</c:v>
                </c:pt>
                <c:pt idx="51">
                  <c:v>44460</c:v>
                </c:pt>
                <c:pt idx="52">
                  <c:v>44461</c:v>
                </c:pt>
                <c:pt idx="53">
                  <c:v>44462</c:v>
                </c:pt>
                <c:pt idx="54">
                  <c:v>44463</c:v>
                </c:pt>
                <c:pt idx="55">
                  <c:v>44464</c:v>
                </c:pt>
                <c:pt idx="56">
                  <c:v>44465</c:v>
                </c:pt>
                <c:pt idx="57">
                  <c:v>44466</c:v>
                </c:pt>
                <c:pt idx="58">
                  <c:v>44467</c:v>
                </c:pt>
                <c:pt idx="59">
                  <c:v>44468</c:v>
                </c:pt>
                <c:pt idx="60">
                  <c:v>44469</c:v>
                </c:pt>
                <c:pt idx="61">
                  <c:v>44470</c:v>
                </c:pt>
                <c:pt idx="62">
                  <c:v>44471</c:v>
                </c:pt>
                <c:pt idx="63">
                  <c:v>44472</c:v>
                </c:pt>
                <c:pt idx="64">
                  <c:v>44473</c:v>
                </c:pt>
                <c:pt idx="65">
                  <c:v>44474</c:v>
                </c:pt>
                <c:pt idx="66">
                  <c:v>44475</c:v>
                </c:pt>
                <c:pt idx="67">
                  <c:v>44476</c:v>
                </c:pt>
                <c:pt idx="68">
                  <c:v>44477</c:v>
                </c:pt>
                <c:pt idx="69">
                  <c:v>44478</c:v>
                </c:pt>
                <c:pt idx="70">
                  <c:v>44479</c:v>
                </c:pt>
                <c:pt idx="71">
                  <c:v>44480</c:v>
                </c:pt>
                <c:pt idx="72">
                  <c:v>44481</c:v>
                </c:pt>
                <c:pt idx="73">
                  <c:v>44482</c:v>
                </c:pt>
                <c:pt idx="74">
                  <c:v>44483</c:v>
                </c:pt>
                <c:pt idx="75">
                  <c:v>44484</c:v>
                </c:pt>
                <c:pt idx="76">
                  <c:v>44485</c:v>
                </c:pt>
                <c:pt idx="77">
                  <c:v>44486</c:v>
                </c:pt>
                <c:pt idx="78">
                  <c:v>44487</c:v>
                </c:pt>
                <c:pt idx="79">
                  <c:v>44488</c:v>
                </c:pt>
                <c:pt idx="80">
                  <c:v>44489</c:v>
                </c:pt>
                <c:pt idx="81">
                  <c:v>44490</c:v>
                </c:pt>
                <c:pt idx="82">
                  <c:v>44491</c:v>
                </c:pt>
                <c:pt idx="83">
                  <c:v>44492</c:v>
                </c:pt>
                <c:pt idx="84">
                  <c:v>44493</c:v>
                </c:pt>
                <c:pt idx="85">
                  <c:v>44494</c:v>
                </c:pt>
                <c:pt idx="86">
                  <c:v>44495</c:v>
                </c:pt>
                <c:pt idx="87">
                  <c:v>44496</c:v>
                </c:pt>
                <c:pt idx="88">
                  <c:v>44497</c:v>
                </c:pt>
                <c:pt idx="89">
                  <c:v>44498</c:v>
                </c:pt>
                <c:pt idx="90">
                  <c:v>44499</c:v>
                </c:pt>
                <c:pt idx="91">
                  <c:v>44500</c:v>
                </c:pt>
                <c:pt idx="92">
                  <c:v>44501</c:v>
                </c:pt>
                <c:pt idx="93">
                  <c:v>44502</c:v>
                </c:pt>
                <c:pt idx="94">
                  <c:v>44503</c:v>
                </c:pt>
                <c:pt idx="95">
                  <c:v>44504</c:v>
                </c:pt>
                <c:pt idx="96">
                  <c:v>44505</c:v>
                </c:pt>
                <c:pt idx="97">
                  <c:v>44506</c:v>
                </c:pt>
                <c:pt idx="98">
                  <c:v>44507</c:v>
                </c:pt>
                <c:pt idx="99">
                  <c:v>44508</c:v>
                </c:pt>
                <c:pt idx="100">
                  <c:v>44509</c:v>
                </c:pt>
                <c:pt idx="101">
                  <c:v>44510</c:v>
                </c:pt>
                <c:pt idx="102">
                  <c:v>44511</c:v>
                </c:pt>
                <c:pt idx="103">
                  <c:v>44512</c:v>
                </c:pt>
                <c:pt idx="104">
                  <c:v>44513</c:v>
                </c:pt>
                <c:pt idx="105">
                  <c:v>44514</c:v>
                </c:pt>
              </c:numCache>
            </c:numRef>
          </c:cat>
          <c:val>
            <c:numRef>
              <c:f>Sheet1!$G$336:$G$441</c:f>
              <c:numCache>
                <c:formatCode>General</c:formatCode>
                <c:ptCount val="106"/>
                <c:pt idx="61">
                  <c:v>158</c:v>
                </c:pt>
                <c:pt idx="62">
                  <c:v>171</c:v>
                </c:pt>
                <c:pt idx="63">
                  <c:v>181</c:v>
                </c:pt>
                <c:pt idx="64">
                  <c:v>189</c:v>
                </c:pt>
                <c:pt idx="65">
                  <c:v>201</c:v>
                </c:pt>
                <c:pt idx="66">
                  <c:v>215</c:v>
                </c:pt>
                <c:pt idx="67">
                  <c:v>231</c:v>
                </c:pt>
                <c:pt idx="68">
                  <c:v>248</c:v>
                </c:pt>
                <c:pt idx="69">
                  <c:v>263</c:v>
                </c:pt>
                <c:pt idx="70">
                  <c:v>279</c:v>
                </c:pt>
                <c:pt idx="71">
                  <c:v>297</c:v>
                </c:pt>
                <c:pt idx="72">
                  <c:v>339</c:v>
                </c:pt>
                <c:pt idx="73">
                  <c:v>374</c:v>
                </c:pt>
                <c:pt idx="74">
                  <c:v>405</c:v>
                </c:pt>
                <c:pt idx="75">
                  <c:v>435</c:v>
                </c:pt>
                <c:pt idx="76">
                  <c:v>473</c:v>
                </c:pt>
                <c:pt idx="77">
                  <c:v>518</c:v>
                </c:pt>
                <c:pt idx="78">
                  <c:v>569</c:v>
                </c:pt>
                <c:pt idx="79">
                  <c:v>624</c:v>
                </c:pt>
                <c:pt idx="80">
                  <c:v>678</c:v>
                </c:pt>
                <c:pt idx="81">
                  <c:v>736</c:v>
                </c:pt>
                <c:pt idx="82">
                  <c:v>802</c:v>
                </c:pt>
                <c:pt idx="83">
                  <c:v>878</c:v>
                </c:pt>
                <c:pt idx="84">
                  <c:v>960</c:v>
                </c:pt>
                <c:pt idx="85">
                  <c:v>1047</c:v>
                </c:pt>
                <c:pt idx="86">
                  <c:v>1140</c:v>
                </c:pt>
                <c:pt idx="87">
                  <c:v>1241</c:v>
                </c:pt>
                <c:pt idx="88">
                  <c:v>1354</c:v>
                </c:pt>
                <c:pt idx="89">
                  <c:v>1478</c:v>
                </c:pt>
                <c:pt idx="90">
                  <c:v>1614</c:v>
                </c:pt>
                <c:pt idx="91">
                  <c:v>1759</c:v>
                </c:pt>
                <c:pt idx="92">
                  <c:v>1917</c:v>
                </c:pt>
                <c:pt idx="93">
                  <c:v>1966</c:v>
                </c:pt>
                <c:pt idx="94">
                  <c:v>2073</c:v>
                </c:pt>
                <c:pt idx="95">
                  <c:v>2220</c:v>
                </c:pt>
                <c:pt idx="96">
                  <c:v>2398</c:v>
                </c:pt>
                <c:pt idx="97">
                  <c:v>2558</c:v>
                </c:pt>
                <c:pt idx="98">
                  <c:v>2712</c:v>
                </c:pt>
                <c:pt idx="99">
                  <c:v>2870</c:v>
                </c:pt>
                <c:pt idx="100">
                  <c:v>3037</c:v>
                </c:pt>
                <c:pt idx="101">
                  <c:v>3243</c:v>
                </c:pt>
                <c:pt idx="102">
                  <c:v>3466</c:v>
                </c:pt>
                <c:pt idx="103">
                  <c:v>3693</c:v>
                </c:pt>
                <c:pt idx="104">
                  <c:v>3916</c:v>
                </c:pt>
                <c:pt idx="105">
                  <c:v>4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0F-4962-9CCB-3A06EAB11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F8-40A4-B203-95E23E79D55C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33.952754532483148</c:v>
                </c:pt>
                <c:pt idx="1">
                  <c:v>31.270067754607933</c:v>
                </c:pt>
                <c:pt idx="2">
                  <c:v>28.922716823967125</c:v>
                </c:pt>
                <c:pt idx="3">
                  <c:v>28.168211167689723</c:v>
                </c:pt>
                <c:pt idx="4">
                  <c:v>27.832875320455319</c:v>
                </c:pt>
                <c:pt idx="5">
                  <c:v>26.910701740560715</c:v>
                </c:pt>
                <c:pt idx="6">
                  <c:v>25.06635458077151</c:v>
                </c:pt>
                <c:pt idx="7">
                  <c:v>21.461494223001694</c:v>
                </c:pt>
                <c:pt idx="8">
                  <c:v>20.371652719489887</c:v>
                </c:pt>
                <c:pt idx="9">
                  <c:v>17.437464056188876</c:v>
                </c:pt>
                <c:pt idx="10">
                  <c:v>15.257781049165265</c:v>
                </c:pt>
                <c:pt idx="11">
                  <c:v>15.090113125548065</c:v>
                </c:pt>
                <c:pt idx="12">
                  <c:v>14.838611240122264</c:v>
                </c:pt>
                <c:pt idx="13">
                  <c:v>12.323592385864252</c:v>
                </c:pt>
                <c:pt idx="14">
                  <c:v>11.401418805969648</c:v>
                </c:pt>
                <c:pt idx="15">
                  <c:v>9.5570716461804395</c:v>
                </c:pt>
                <c:pt idx="16">
                  <c:v>10.060075417032042</c:v>
                </c:pt>
                <c:pt idx="17">
                  <c:v>9.8924074934148418</c:v>
                </c:pt>
                <c:pt idx="18">
                  <c:v>8.8863999517116383</c:v>
                </c:pt>
                <c:pt idx="19">
                  <c:v>8.8025659899030373</c:v>
                </c:pt>
                <c:pt idx="20">
                  <c:v>8.8863999517116383</c:v>
                </c:pt>
                <c:pt idx="21">
                  <c:v>8.1318942954342344</c:v>
                </c:pt>
                <c:pt idx="22">
                  <c:v>8.2995622190514364</c:v>
                </c:pt>
                <c:pt idx="23">
                  <c:v>6.7905509064966294</c:v>
                </c:pt>
                <c:pt idx="24">
                  <c:v>6.7905509064966294</c:v>
                </c:pt>
                <c:pt idx="25">
                  <c:v>6.8743848683052287</c:v>
                </c:pt>
                <c:pt idx="26">
                  <c:v>6.7905509064966294</c:v>
                </c:pt>
                <c:pt idx="27">
                  <c:v>6.7067169446880284</c:v>
                </c:pt>
                <c:pt idx="28">
                  <c:v>6.9582188301138297</c:v>
                </c:pt>
                <c:pt idx="29">
                  <c:v>6.6228829828794282</c:v>
                </c:pt>
                <c:pt idx="30">
                  <c:v>7.293554677348232</c:v>
                </c:pt>
                <c:pt idx="31">
                  <c:v>7.293554677348232</c:v>
                </c:pt>
                <c:pt idx="32">
                  <c:v>7.7965584481998338</c:v>
                </c:pt>
                <c:pt idx="33">
                  <c:v>7.3773886391568313</c:v>
                </c:pt>
                <c:pt idx="34">
                  <c:v>6.7067169446880284</c:v>
                </c:pt>
                <c:pt idx="35">
                  <c:v>5.5330414793676237</c:v>
                </c:pt>
                <c:pt idx="36">
                  <c:v>6.2875471356450277</c:v>
                </c:pt>
                <c:pt idx="37">
                  <c:v>5.8683773266020252</c:v>
                </c:pt>
                <c:pt idx="38">
                  <c:v>6.5390490210708281</c:v>
                </c:pt>
                <c:pt idx="39">
                  <c:v>6.3713810974536269</c:v>
                </c:pt>
                <c:pt idx="40">
                  <c:v>7.12588675373103</c:v>
                </c:pt>
                <c:pt idx="41">
                  <c:v>7.880392410008433</c:v>
                </c:pt>
                <c:pt idx="42">
                  <c:v>9.8085735316062408</c:v>
                </c:pt>
                <c:pt idx="43">
                  <c:v>8.634898066285837</c:v>
                </c:pt>
                <c:pt idx="44">
                  <c:v>8.1318942954342344</c:v>
                </c:pt>
                <c:pt idx="45">
                  <c:v>7.7127244863912328</c:v>
                </c:pt>
                <c:pt idx="46">
                  <c:v>7.7127244863912328</c:v>
                </c:pt>
                <c:pt idx="47">
                  <c:v>7.6288905245826326</c:v>
                </c:pt>
                <c:pt idx="48">
                  <c:v>7.5450565627740325</c:v>
                </c:pt>
                <c:pt idx="49">
                  <c:v>6.7905509064966294</c:v>
                </c:pt>
                <c:pt idx="50">
                  <c:v>7.6288905245826326</c:v>
                </c:pt>
                <c:pt idx="51">
                  <c:v>8.2157282572428354</c:v>
                </c:pt>
                <c:pt idx="52">
                  <c:v>7.5450565627740325</c:v>
                </c:pt>
                <c:pt idx="53">
                  <c:v>7.0420527919224307</c:v>
                </c:pt>
                <c:pt idx="54">
                  <c:v>6.7067169446880284</c:v>
                </c:pt>
                <c:pt idx="55">
                  <c:v>6.0360452502192254</c:v>
                </c:pt>
                <c:pt idx="56">
                  <c:v>5.4492075175590236</c:v>
                </c:pt>
                <c:pt idx="57">
                  <c:v>4.6947018612816196</c:v>
                </c:pt>
                <c:pt idx="58">
                  <c:v>4.4431999758558192</c:v>
                </c:pt>
                <c:pt idx="59">
                  <c:v>4.359366014047219</c:v>
                </c:pt>
                <c:pt idx="60">
                  <c:v>4.6947018612816196</c:v>
                </c:pt>
                <c:pt idx="61">
                  <c:v>4.359366014047219</c:v>
                </c:pt>
                <c:pt idx="62">
                  <c:v>4.1078641286214177</c:v>
                </c:pt>
                <c:pt idx="63">
                  <c:v>4.359366014047219</c:v>
                </c:pt>
                <c:pt idx="64">
                  <c:v>4.8623697848988208</c:v>
                </c:pt>
                <c:pt idx="65">
                  <c:v>4.9462037467074209</c:v>
                </c:pt>
                <c:pt idx="66">
                  <c:v>4.8623697848988208</c:v>
                </c:pt>
                <c:pt idx="67">
                  <c:v>4.9462037467074209</c:v>
                </c:pt>
                <c:pt idx="68">
                  <c:v>5.1977056321332222</c:v>
                </c:pt>
                <c:pt idx="69">
                  <c:v>5.8683773266020252</c:v>
                </c:pt>
                <c:pt idx="70">
                  <c:v>6.4552150592622279</c:v>
                </c:pt>
                <c:pt idx="71">
                  <c:v>6.7067169446880284</c:v>
                </c:pt>
                <c:pt idx="72">
                  <c:v>6.9582188301138297</c:v>
                </c:pt>
                <c:pt idx="73">
                  <c:v>6.7905509064966294</c:v>
                </c:pt>
                <c:pt idx="74">
                  <c:v>7.0420527919224307</c:v>
                </c:pt>
                <c:pt idx="75">
                  <c:v>7.293554677348232</c:v>
                </c:pt>
                <c:pt idx="76">
                  <c:v>7.293554677348232</c:v>
                </c:pt>
                <c:pt idx="77">
                  <c:v>7.4612226009654323</c:v>
                </c:pt>
                <c:pt idx="78">
                  <c:v>7.293554677348232</c:v>
                </c:pt>
                <c:pt idx="79">
                  <c:v>7.7965584481998338</c:v>
                </c:pt>
                <c:pt idx="80">
                  <c:v>7.7965584481998338</c:v>
                </c:pt>
                <c:pt idx="81">
                  <c:v>7.293554677348232</c:v>
                </c:pt>
                <c:pt idx="82">
                  <c:v>7.209720715539631</c:v>
                </c:pt>
                <c:pt idx="83">
                  <c:v>7.12588675373103</c:v>
                </c:pt>
                <c:pt idx="84">
                  <c:v>6.2037131738364266</c:v>
                </c:pt>
                <c:pt idx="85">
                  <c:v>6.8743848683052287</c:v>
                </c:pt>
                <c:pt idx="86">
                  <c:v>6.2875471356450277</c:v>
                </c:pt>
                <c:pt idx="87">
                  <c:v>6.8743848683052287</c:v>
                </c:pt>
                <c:pt idx="88">
                  <c:v>7.0420527919224307</c:v>
                </c:pt>
                <c:pt idx="89">
                  <c:v>7.0420527919224307</c:v>
                </c:pt>
                <c:pt idx="90">
                  <c:v>7.7965584481998338</c:v>
                </c:pt>
                <c:pt idx="91">
                  <c:v>9.1379018371374396</c:v>
                </c:pt>
                <c:pt idx="92">
                  <c:v>8.3833961808600357</c:v>
                </c:pt>
                <c:pt idx="93">
                  <c:v>9.3055697607546399</c:v>
                </c:pt>
                <c:pt idx="94">
                  <c:v>11.82058861501265</c:v>
                </c:pt>
                <c:pt idx="95">
                  <c:v>12.323592385864252</c:v>
                </c:pt>
                <c:pt idx="96">
                  <c:v>12.575094271290055</c:v>
                </c:pt>
                <c:pt idx="97">
                  <c:v>13.916437660227659</c:v>
                </c:pt>
                <c:pt idx="98">
                  <c:v>16.599124438102873</c:v>
                </c:pt>
                <c:pt idx="99">
                  <c:v>19.784814986829684</c:v>
                </c:pt>
                <c:pt idx="100">
                  <c:v>22.551335726513496</c:v>
                </c:pt>
                <c:pt idx="101">
                  <c:v>23.557343268216698</c:v>
                </c:pt>
                <c:pt idx="102">
                  <c:v>25.737026275240311</c:v>
                </c:pt>
                <c:pt idx="103">
                  <c:v>26.491531931517713</c:v>
                </c:pt>
                <c:pt idx="104">
                  <c:v>29.92872436567033</c:v>
                </c:pt>
                <c:pt idx="105">
                  <c:v>31.856905487268136</c:v>
                </c:pt>
                <c:pt idx="106">
                  <c:v>34.623426226951949</c:v>
                </c:pt>
                <c:pt idx="107">
                  <c:v>35.545599806846553</c:v>
                </c:pt>
                <c:pt idx="108">
                  <c:v>38.312120546530359</c:v>
                </c:pt>
                <c:pt idx="109">
                  <c:v>37.892950737487361</c:v>
                </c:pt>
                <c:pt idx="110">
                  <c:v>39.569629973659367</c:v>
                </c:pt>
                <c:pt idx="111">
                  <c:v>41.078641286214179</c:v>
                </c:pt>
                <c:pt idx="112">
                  <c:v>43.090656369620589</c:v>
                </c:pt>
                <c:pt idx="113">
                  <c:v>43.928995987706593</c:v>
                </c:pt>
                <c:pt idx="114">
                  <c:v>46.611682765581797</c:v>
                </c:pt>
                <c:pt idx="115">
                  <c:v>47.366188421859199</c:v>
                </c:pt>
                <c:pt idx="116">
                  <c:v>48.79136577260541</c:v>
                </c:pt>
                <c:pt idx="117">
                  <c:v>48.204528039945203</c:v>
                </c:pt>
                <c:pt idx="118">
                  <c:v>50.551878970586024</c:v>
                </c:pt>
                <c:pt idx="119">
                  <c:v>47.114686536433396</c:v>
                </c:pt>
                <c:pt idx="120">
                  <c:v>47.114686536433396</c:v>
                </c:pt>
                <c:pt idx="121">
                  <c:v>51.893222359523627</c:v>
                </c:pt>
                <c:pt idx="122">
                  <c:v>54.492075175590237</c:v>
                </c:pt>
                <c:pt idx="123">
                  <c:v>57.342429877082644</c:v>
                </c:pt>
                <c:pt idx="124">
                  <c:v>60.192784578575058</c:v>
                </c:pt>
                <c:pt idx="125">
                  <c:v>60.108950616766464</c:v>
                </c:pt>
                <c:pt idx="126">
                  <c:v>73.354716582525313</c:v>
                </c:pt>
                <c:pt idx="127">
                  <c:v>82.324950496045545</c:v>
                </c:pt>
                <c:pt idx="128">
                  <c:v>83.750127846791756</c:v>
                </c:pt>
                <c:pt idx="129">
                  <c:v>90.54067875328839</c:v>
                </c:pt>
                <c:pt idx="130">
                  <c:v>94.900044767335601</c:v>
                </c:pt>
                <c:pt idx="131">
                  <c:v>95.654550423613017</c:v>
                </c:pt>
                <c:pt idx="132">
                  <c:v>105.46312395521925</c:v>
                </c:pt>
                <c:pt idx="133">
                  <c:v>110.82849751096967</c:v>
                </c:pt>
                <c:pt idx="134">
                  <c:v>116.69687483757171</c:v>
                </c:pt>
                <c:pt idx="135">
                  <c:v>123.40359178225972</c:v>
                </c:pt>
                <c:pt idx="136">
                  <c:v>136.146353977167</c:v>
                </c:pt>
                <c:pt idx="137">
                  <c:v>140.9248898002572</c:v>
                </c:pt>
                <c:pt idx="138">
                  <c:v>149.97895767558603</c:v>
                </c:pt>
                <c:pt idx="139">
                  <c:v>171.85962170763074</c:v>
                </c:pt>
                <c:pt idx="140">
                  <c:v>196.42297251755065</c:v>
                </c:pt>
                <c:pt idx="141">
                  <c:v>223.41750821991994</c:v>
                </c:pt>
                <c:pt idx="142">
                  <c:v>248.31619487707428</c:v>
                </c:pt>
                <c:pt idx="143">
                  <c:v>274.30472303774036</c:v>
                </c:pt>
                <c:pt idx="144">
                  <c:v>296.52072291701944</c:v>
                </c:pt>
                <c:pt idx="145">
                  <c:v>309.1796511501181</c:v>
                </c:pt>
                <c:pt idx="146">
                  <c:v>326.44944728268979</c:v>
                </c:pt>
                <c:pt idx="147">
                  <c:v>355.37216410665695</c:v>
                </c:pt>
                <c:pt idx="148">
                  <c:v>380.18701680200263</c:v>
                </c:pt>
                <c:pt idx="149">
                  <c:v>391.67226956978084</c:v>
                </c:pt>
                <c:pt idx="150">
                  <c:v>412.63076002193094</c:v>
                </c:pt>
                <c:pt idx="151">
                  <c:v>433.42158255046382</c:v>
                </c:pt>
                <c:pt idx="152">
                  <c:v>447.00268436345715</c:v>
                </c:pt>
                <c:pt idx="153">
                  <c:v>491.60235204563253</c:v>
                </c:pt>
                <c:pt idx="154">
                  <c:v>533.10016314088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0F8-40A4-B203-95E23E79D5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52.563894053992421</c:v>
                </c:pt>
                <c:pt idx="123">
                  <c:v>54.575909137398831</c:v>
                </c:pt>
                <c:pt idx="124">
                  <c:v>56.671758182613836</c:v>
                </c:pt>
                <c:pt idx="125">
                  <c:v>58.851441189637448</c:v>
                </c:pt>
                <c:pt idx="126">
                  <c:v>61.114958158469662</c:v>
                </c:pt>
                <c:pt idx="127">
                  <c:v>63.378475127301868</c:v>
                </c:pt>
                <c:pt idx="128">
                  <c:v>65.809660019751277</c:v>
                </c:pt>
                <c:pt idx="129">
                  <c:v>68.324678874009294</c:v>
                </c:pt>
                <c:pt idx="130">
                  <c:v>70.839697728267296</c:v>
                </c:pt>
                <c:pt idx="131">
                  <c:v>73.438550544333921</c:v>
                </c:pt>
                <c:pt idx="132">
                  <c:v>76.121237322209126</c:v>
                </c:pt>
                <c:pt idx="133">
                  <c:v>78.971592023701533</c:v>
                </c:pt>
                <c:pt idx="134">
                  <c:v>81.905780687002547</c:v>
                </c:pt>
                <c:pt idx="135">
                  <c:v>84.923803312112156</c:v>
                </c:pt>
                <c:pt idx="136">
                  <c:v>88.025659899030387</c:v>
                </c:pt>
                <c:pt idx="137">
                  <c:v>91.295184409565792</c:v>
                </c:pt>
                <c:pt idx="138">
                  <c:v>94.648542881909805</c:v>
                </c:pt>
                <c:pt idx="139">
                  <c:v>98.16956927787102</c:v>
                </c:pt>
                <c:pt idx="140">
                  <c:v>101.77442963564083</c:v>
                </c:pt>
                <c:pt idx="141">
                  <c:v>105.54695791702784</c:v>
                </c:pt>
                <c:pt idx="142">
                  <c:v>109.40332016022346</c:v>
                </c:pt>
                <c:pt idx="143">
                  <c:v>113.34351636522767</c:v>
                </c:pt>
                <c:pt idx="144">
                  <c:v>117.4513804938491</c:v>
                </c:pt>
                <c:pt idx="145">
                  <c:v>121.72691254608772</c:v>
                </c:pt>
                <c:pt idx="146">
                  <c:v>126.08627856013493</c:v>
                </c:pt>
                <c:pt idx="147">
                  <c:v>130.61331249779937</c:v>
                </c:pt>
                <c:pt idx="148">
                  <c:v>135.30801435908097</c:v>
                </c:pt>
                <c:pt idx="149">
                  <c:v>140.17038414397982</c:v>
                </c:pt>
                <c:pt idx="150">
                  <c:v>145.20042185249582</c:v>
                </c:pt>
                <c:pt idx="151">
                  <c:v>150.39812748462904</c:v>
                </c:pt>
                <c:pt idx="152">
                  <c:v>155.76350104037948</c:v>
                </c:pt>
                <c:pt idx="153">
                  <c:v>161.29654251974708</c:v>
                </c:pt>
                <c:pt idx="154">
                  <c:v>166.99725192273192</c:v>
                </c:pt>
                <c:pt idx="155">
                  <c:v>172.86562924933392</c:v>
                </c:pt>
                <c:pt idx="156">
                  <c:v>178.98550846136177</c:v>
                </c:pt>
                <c:pt idx="157">
                  <c:v>185.27305559700679</c:v>
                </c:pt>
                <c:pt idx="158">
                  <c:v>191.81210461807763</c:v>
                </c:pt>
                <c:pt idx="159">
                  <c:v>198.51882156276565</c:v>
                </c:pt>
                <c:pt idx="160">
                  <c:v>205.56087435468808</c:v>
                </c:pt>
                <c:pt idx="161">
                  <c:v>212.7705950702277</c:v>
                </c:pt>
                <c:pt idx="162">
                  <c:v>220.23181767119314</c:v>
                </c:pt>
                <c:pt idx="163">
                  <c:v>227.94454215758438</c:v>
                </c:pt>
                <c:pt idx="164">
                  <c:v>235.99260249121002</c:v>
                </c:pt>
                <c:pt idx="165">
                  <c:v>244.20833074845285</c:v>
                </c:pt>
                <c:pt idx="166">
                  <c:v>252.75939485293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0F8-40A4-B203-95E23E79D55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52.815395939418224</c:v>
                </c:pt>
                <c:pt idx="123">
                  <c:v>55.330414793676233</c:v>
                </c:pt>
                <c:pt idx="124">
                  <c:v>58.013101571551452</c:v>
                </c:pt>
                <c:pt idx="125">
                  <c:v>60.863456273043859</c:v>
                </c:pt>
                <c:pt idx="126">
                  <c:v>63.965312859962076</c:v>
                </c:pt>
                <c:pt idx="127">
                  <c:v>67.318671332306081</c:v>
                </c:pt>
                <c:pt idx="128">
                  <c:v>71.007365651884498</c:v>
                </c:pt>
                <c:pt idx="129">
                  <c:v>74.779893933271524</c:v>
                </c:pt>
                <c:pt idx="130">
                  <c:v>78.636256176467128</c:v>
                </c:pt>
                <c:pt idx="131">
                  <c:v>82.66028634327995</c:v>
                </c:pt>
                <c:pt idx="132">
                  <c:v>86.935818395518567</c:v>
                </c:pt>
                <c:pt idx="133">
                  <c:v>91.462852333182994</c:v>
                </c:pt>
                <c:pt idx="134">
                  <c:v>96.241388156273203</c:v>
                </c:pt>
                <c:pt idx="135">
                  <c:v>101.27142586478922</c:v>
                </c:pt>
                <c:pt idx="136">
                  <c:v>106.46913149692246</c:v>
                </c:pt>
                <c:pt idx="137">
                  <c:v>111.91833901448149</c:v>
                </c:pt>
                <c:pt idx="138">
                  <c:v>117.7028823792749</c:v>
                </c:pt>
                <c:pt idx="139">
                  <c:v>123.82276159130274</c:v>
                </c:pt>
                <c:pt idx="140">
                  <c:v>130.19414268875636</c:v>
                </c:pt>
                <c:pt idx="141">
                  <c:v>136.8170256716358</c:v>
                </c:pt>
                <c:pt idx="142">
                  <c:v>143.77524450174963</c:v>
                </c:pt>
                <c:pt idx="143">
                  <c:v>151.06879917909785</c:v>
                </c:pt>
                <c:pt idx="144">
                  <c:v>158.69768970368048</c:v>
                </c:pt>
                <c:pt idx="145">
                  <c:v>166.74575003730612</c:v>
                </c:pt>
                <c:pt idx="146">
                  <c:v>175.21298017997475</c:v>
                </c:pt>
                <c:pt idx="147">
                  <c:v>184.09938013168639</c:v>
                </c:pt>
                <c:pt idx="148">
                  <c:v>193.40494989244101</c:v>
                </c:pt>
                <c:pt idx="149">
                  <c:v>203.21352342404725</c:v>
                </c:pt>
                <c:pt idx="150">
                  <c:v>213.52510072650514</c:v>
                </c:pt>
                <c:pt idx="151">
                  <c:v>224.33968179981457</c:v>
                </c:pt>
                <c:pt idx="152">
                  <c:v>235.65726664397562</c:v>
                </c:pt>
                <c:pt idx="153">
                  <c:v>247.47785525898826</c:v>
                </c:pt>
                <c:pt idx="154">
                  <c:v>259.88528160666112</c:v>
                </c:pt>
                <c:pt idx="155">
                  <c:v>272.9633796488028</c:v>
                </c:pt>
                <c:pt idx="156">
                  <c:v>286.62831542360459</c:v>
                </c:pt>
                <c:pt idx="157">
                  <c:v>300.9639228928753</c:v>
                </c:pt>
                <c:pt idx="158">
                  <c:v>315.97020205661477</c:v>
                </c:pt>
                <c:pt idx="159">
                  <c:v>331.73098687663162</c:v>
                </c:pt>
                <c:pt idx="160">
                  <c:v>348.33011131473449</c:v>
                </c:pt>
                <c:pt idx="161">
                  <c:v>365.76757537092334</c:v>
                </c:pt>
                <c:pt idx="162">
                  <c:v>383.95954508338968</c:v>
                </c:pt>
                <c:pt idx="163">
                  <c:v>403.07368837575058</c:v>
                </c:pt>
                <c:pt idx="164">
                  <c:v>423.11000524800602</c:v>
                </c:pt>
                <c:pt idx="165">
                  <c:v>444.15232966196476</c:v>
                </c:pt>
                <c:pt idx="166">
                  <c:v>466.20066161762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0F8-40A4-B203-95E23E79D55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53.150731786652628</c:v>
                </c:pt>
                <c:pt idx="123">
                  <c:v>56.084920449953643</c:v>
                </c:pt>
                <c:pt idx="124">
                  <c:v>59.354444960489054</c:v>
                </c:pt>
                <c:pt idx="125">
                  <c:v>62.875471356450262</c:v>
                </c:pt>
                <c:pt idx="126">
                  <c:v>66.815667561454475</c:v>
                </c:pt>
                <c:pt idx="127">
                  <c:v>71.258867537310309</c:v>
                </c:pt>
                <c:pt idx="128">
                  <c:v>76.372739207634922</c:v>
                </c:pt>
                <c:pt idx="129">
                  <c:v>81.486610877959549</c:v>
                </c:pt>
                <c:pt idx="130">
                  <c:v>86.768150471901365</c:v>
                </c:pt>
                <c:pt idx="131">
                  <c:v>92.385025913077584</c:v>
                </c:pt>
                <c:pt idx="132">
                  <c:v>98.504905125105424</c:v>
                </c:pt>
                <c:pt idx="133">
                  <c:v>105.12778810798484</c:v>
                </c:pt>
                <c:pt idx="134">
                  <c:v>112.16984089990729</c:v>
                </c:pt>
                <c:pt idx="135">
                  <c:v>119.54722953906412</c:v>
                </c:pt>
                <c:pt idx="136">
                  <c:v>127.25995402545534</c:v>
                </c:pt>
                <c:pt idx="137">
                  <c:v>135.5595162445068</c:v>
                </c:pt>
                <c:pt idx="138">
                  <c:v>144.44591619621843</c:v>
                </c:pt>
                <c:pt idx="139">
                  <c:v>153.91915388059024</c:v>
                </c:pt>
                <c:pt idx="140">
                  <c:v>163.97922929762231</c:v>
                </c:pt>
                <c:pt idx="141">
                  <c:v>174.62614244731455</c:v>
                </c:pt>
                <c:pt idx="142">
                  <c:v>185.9437272914756</c:v>
                </c:pt>
                <c:pt idx="143">
                  <c:v>198.01581779191403</c:v>
                </c:pt>
                <c:pt idx="144">
                  <c:v>210.84241394862991</c:v>
                </c:pt>
                <c:pt idx="145">
                  <c:v>224.50734972343179</c:v>
                </c:pt>
                <c:pt idx="146">
                  <c:v>239.09445907812824</c:v>
                </c:pt>
                <c:pt idx="147">
                  <c:v>254.51990805091069</c:v>
                </c:pt>
                <c:pt idx="148">
                  <c:v>270.95136456539637</c:v>
                </c:pt>
                <c:pt idx="149">
                  <c:v>288.38882862158528</c:v>
                </c:pt>
                <c:pt idx="150">
                  <c:v>306.99996814309452</c:v>
                </c:pt>
                <c:pt idx="151">
                  <c:v>326.78478312992422</c:v>
                </c:pt>
                <c:pt idx="152">
                  <c:v>347.8271075438829</c:v>
                </c:pt>
                <c:pt idx="153">
                  <c:v>370.12694138497056</c:v>
                </c:pt>
                <c:pt idx="154">
                  <c:v>393.93578653861312</c:v>
                </c:pt>
                <c:pt idx="155">
                  <c:v>419.16980904300181</c:v>
                </c:pt>
                <c:pt idx="156">
                  <c:v>446.08051078356249</c:v>
                </c:pt>
                <c:pt idx="157">
                  <c:v>474.66789176029528</c:v>
                </c:pt>
                <c:pt idx="158">
                  <c:v>505.0996198968171</c:v>
                </c:pt>
                <c:pt idx="159">
                  <c:v>537.45952915493694</c:v>
                </c:pt>
                <c:pt idx="160">
                  <c:v>571.91528745827156</c:v>
                </c:pt>
                <c:pt idx="161">
                  <c:v>608.46689480682141</c:v>
                </c:pt>
                <c:pt idx="162">
                  <c:v>647.36585308601195</c:v>
                </c:pt>
                <c:pt idx="163">
                  <c:v>688.77983021946056</c:v>
                </c:pt>
                <c:pt idx="164">
                  <c:v>732.79266016897577</c:v>
                </c:pt>
                <c:pt idx="165">
                  <c:v>779.57201085817474</c:v>
                </c:pt>
                <c:pt idx="166">
                  <c:v>829.36938417248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0F8-40A4-B203-95E23E79D55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53.150731786652628</c:v>
                </c:pt>
                <c:pt idx="123">
                  <c:v>56.084920449953643</c:v>
                </c:pt>
                <c:pt idx="124">
                  <c:v>59.354444960489054</c:v>
                </c:pt>
                <c:pt idx="125">
                  <c:v>62.875471356450262</c:v>
                </c:pt>
                <c:pt idx="126">
                  <c:v>66.815667561454475</c:v>
                </c:pt>
                <c:pt idx="127">
                  <c:v>71.258867537310309</c:v>
                </c:pt>
                <c:pt idx="128">
                  <c:v>76.372739207634922</c:v>
                </c:pt>
                <c:pt idx="129">
                  <c:v>81.486610877959549</c:v>
                </c:pt>
                <c:pt idx="130">
                  <c:v>86.768150471901365</c:v>
                </c:pt>
                <c:pt idx="131">
                  <c:v>92.385025913077584</c:v>
                </c:pt>
                <c:pt idx="132">
                  <c:v>98.504905125105424</c:v>
                </c:pt>
                <c:pt idx="133">
                  <c:v>106.30146357330526</c:v>
                </c:pt>
                <c:pt idx="134">
                  <c:v>115.27169748682549</c:v>
                </c:pt>
                <c:pt idx="135">
                  <c:v>125.08027101843173</c:v>
                </c:pt>
                <c:pt idx="136">
                  <c:v>135.64335020631538</c:v>
                </c:pt>
                <c:pt idx="137">
                  <c:v>147.54777278313662</c:v>
                </c:pt>
                <c:pt idx="138">
                  <c:v>161.12887459612989</c:v>
                </c:pt>
                <c:pt idx="139">
                  <c:v>176.55432356891234</c:v>
                </c:pt>
                <c:pt idx="140">
                  <c:v>192.81811215978081</c:v>
                </c:pt>
                <c:pt idx="141">
                  <c:v>210.08790829235252</c:v>
                </c:pt>
                <c:pt idx="142">
                  <c:v>228.86671573747898</c:v>
                </c:pt>
                <c:pt idx="143">
                  <c:v>249.74137222782048</c:v>
                </c:pt>
                <c:pt idx="144">
                  <c:v>272.71187776337695</c:v>
                </c:pt>
                <c:pt idx="145">
                  <c:v>297.77823234414848</c:v>
                </c:pt>
                <c:pt idx="146">
                  <c:v>324.94043597013501</c:v>
                </c:pt>
                <c:pt idx="147">
                  <c:v>354.1984886413365</c:v>
                </c:pt>
                <c:pt idx="148">
                  <c:v>386.13922809041321</c:v>
                </c:pt>
                <c:pt idx="149">
                  <c:v>421.26565808821681</c:v>
                </c:pt>
                <c:pt idx="150">
                  <c:v>459.66161259655581</c:v>
                </c:pt>
                <c:pt idx="151">
                  <c:v>501.4109255772388</c:v>
                </c:pt>
                <c:pt idx="152">
                  <c:v>546.76509891569151</c:v>
                </c:pt>
                <c:pt idx="153">
                  <c:v>596.14330242095718</c:v>
                </c:pt>
                <c:pt idx="154">
                  <c:v>643.00648707196478</c:v>
                </c:pt>
                <c:pt idx="155">
                  <c:v>690.20500757020682</c:v>
                </c:pt>
                <c:pt idx="156">
                  <c:v>739.33170919004658</c:v>
                </c:pt>
                <c:pt idx="157">
                  <c:v>791.47643343499601</c:v>
                </c:pt>
                <c:pt idx="158">
                  <c:v>845.13016899250022</c:v>
                </c:pt>
                <c:pt idx="159">
                  <c:v>899.20307435904738</c:v>
                </c:pt>
                <c:pt idx="160">
                  <c:v>953.27597972559465</c:v>
                </c:pt>
                <c:pt idx="161">
                  <c:v>1014.0556020368299</c:v>
                </c:pt>
                <c:pt idx="162">
                  <c:v>1080.4520997892414</c:v>
                </c:pt>
                <c:pt idx="163">
                  <c:v>1151.1241295938917</c:v>
                </c:pt>
                <c:pt idx="164">
                  <c:v>1224.646514100034</c:v>
                </c:pt>
                <c:pt idx="165">
                  <c:v>1301.6899250021377</c:v>
                </c:pt>
                <c:pt idx="166">
                  <c:v>1383.5957056891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0F8-40A4-B203-95E23E79D5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7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97-4169-846F-DF9410986C0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3.893627666873396</c:v>
                </c:pt>
                <c:pt idx="1">
                  <c:v>22.32069293018267</c:v>
                </c:pt>
                <c:pt idx="2">
                  <c:v>24.492840899898432</c:v>
                </c:pt>
                <c:pt idx="3">
                  <c:v>24.043430975129652</c:v>
                </c:pt>
                <c:pt idx="4">
                  <c:v>23.519119396232746</c:v>
                </c:pt>
                <c:pt idx="5">
                  <c:v>23.219512779720226</c:v>
                </c:pt>
                <c:pt idx="6">
                  <c:v>23.1446111255921</c:v>
                </c:pt>
                <c:pt idx="7">
                  <c:v>23.219512779720226</c:v>
                </c:pt>
                <c:pt idx="8">
                  <c:v>22.021086313670153</c:v>
                </c:pt>
                <c:pt idx="9">
                  <c:v>18.276003607263661</c:v>
                </c:pt>
                <c:pt idx="10">
                  <c:v>16.927773832957328</c:v>
                </c:pt>
                <c:pt idx="11">
                  <c:v>15.72934736690725</c:v>
                </c:pt>
                <c:pt idx="12">
                  <c:v>14.830527517369692</c:v>
                </c:pt>
                <c:pt idx="13">
                  <c:v>13.407396088935229</c:v>
                </c:pt>
                <c:pt idx="14">
                  <c:v>11.984264660500763</c:v>
                </c:pt>
                <c:pt idx="15">
                  <c:v>12.134067968757023</c:v>
                </c:pt>
                <c:pt idx="16">
                  <c:v>13.931707667832137</c:v>
                </c:pt>
                <c:pt idx="17">
                  <c:v>14.530920900857176</c:v>
                </c:pt>
                <c:pt idx="18">
                  <c:v>15.205035788010344</c:v>
                </c:pt>
                <c:pt idx="19">
                  <c:v>16.028953983419768</c:v>
                </c:pt>
                <c:pt idx="20">
                  <c:v>17.077577141213588</c:v>
                </c:pt>
                <c:pt idx="21">
                  <c:v>16.628167216444808</c:v>
                </c:pt>
                <c:pt idx="22">
                  <c:v>16.103855637547898</c:v>
                </c:pt>
                <c:pt idx="23">
                  <c:v>15.130134133882212</c:v>
                </c:pt>
                <c:pt idx="24">
                  <c:v>15.804249021035382</c:v>
                </c:pt>
                <c:pt idx="25">
                  <c:v>16.628167216444808</c:v>
                </c:pt>
                <c:pt idx="26">
                  <c:v>17.152478795341715</c:v>
                </c:pt>
                <c:pt idx="27">
                  <c:v>19.624233381570001</c:v>
                </c:pt>
                <c:pt idx="28">
                  <c:v>21.571676388901373</c:v>
                </c:pt>
                <c:pt idx="29">
                  <c:v>24.717545862282822</c:v>
                </c:pt>
                <c:pt idx="30">
                  <c:v>26.964595486126715</c:v>
                </c:pt>
                <c:pt idx="31">
                  <c:v>27.938316989792405</c:v>
                </c:pt>
                <c:pt idx="32">
                  <c:v>29.436350072354998</c:v>
                </c:pt>
                <c:pt idx="33">
                  <c:v>32.28261292922393</c:v>
                </c:pt>
                <c:pt idx="34">
                  <c:v>31.08418646317385</c:v>
                </c:pt>
                <c:pt idx="35">
                  <c:v>30.260268267764424</c:v>
                </c:pt>
                <c:pt idx="36">
                  <c:v>32.73202285399271</c:v>
                </c:pt>
                <c:pt idx="37">
                  <c:v>34.080252628299043</c:v>
                </c:pt>
                <c:pt idx="38">
                  <c:v>36.626908868655455</c:v>
                </c:pt>
                <c:pt idx="39">
                  <c:v>35.877892327374155</c:v>
                </c:pt>
                <c:pt idx="40">
                  <c:v>35.952793981502289</c:v>
                </c:pt>
                <c:pt idx="41">
                  <c:v>37.675532026449268</c:v>
                </c:pt>
                <c:pt idx="42">
                  <c:v>42.693942853033967</c:v>
                </c:pt>
                <c:pt idx="43">
                  <c:v>41.495516386983894</c:v>
                </c:pt>
                <c:pt idx="44">
                  <c:v>41.420614732855761</c:v>
                </c:pt>
                <c:pt idx="45">
                  <c:v>41.121008116343241</c:v>
                </c:pt>
                <c:pt idx="46">
                  <c:v>43.742566010827787</c:v>
                </c:pt>
                <c:pt idx="47">
                  <c:v>42.693942853033967</c:v>
                </c:pt>
                <c:pt idx="48">
                  <c:v>42.469237890649573</c:v>
                </c:pt>
                <c:pt idx="49">
                  <c:v>41.495516386983894</c:v>
                </c:pt>
                <c:pt idx="50">
                  <c:v>39.922581650293161</c:v>
                </c:pt>
                <c:pt idx="51">
                  <c:v>38.349646913602442</c:v>
                </c:pt>
                <c:pt idx="52">
                  <c:v>36.027695635630415</c:v>
                </c:pt>
                <c:pt idx="53">
                  <c:v>33.406137741145876</c:v>
                </c:pt>
                <c:pt idx="54">
                  <c:v>31.75830135032702</c:v>
                </c:pt>
                <c:pt idx="55">
                  <c:v>30.784579846661337</c:v>
                </c:pt>
                <c:pt idx="56">
                  <c:v>27.938316989792405</c:v>
                </c:pt>
                <c:pt idx="57">
                  <c:v>26.814792177870459</c:v>
                </c:pt>
                <c:pt idx="58">
                  <c:v>24.867349170539079</c:v>
                </c:pt>
                <c:pt idx="59">
                  <c:v>22.62029954669519</c:v>
                </c:pt>
                <c:pt idx="60">
                  <c:v>22.09598796779828</c:v>
                </c:pt>
                <c:pt idx="61">
                  <c:v>21.571676388901373</c:v>
                </c:pt>
                <c:pt idx="62">
                  <c:v>20.597954885235687</c:v>
                </c:pt>
                <c:pt idx="63">
                  <c:v>20.822659847620073</c:v>
                </c:pt>
                <c:pt idx="64">
                  <c:v>20.747758193491947</c:v>
                </c:pt>
                <c:pt idx="65">
                  <c:v>20.448151576979427</c:v>
                </c:pt>
                <c:pt idx="66">
                  <c:v>21.496774734773243</c:v>
                </c:pt>
                <c:pt idx="67">
                  <c:v>22.84500450907958</c:v>
                </c:pt>
                <c:pt idx="68">
                  <c:v>23.444217742104616</c:v>
                </c:pt>
                <c:pt idx="69">
                  <c:v>23.1446111255921</c:v>
                </c:pt>
                <c:pt idx="70">
                  <c:v>24.867349170539079</c:v>
                </c:pt>
                <c:pt idx="71">
                  <c:v>25.391660749435992</c:v>
                </c:pt>
                <c:pt idx="72">
                  <c:v>27.039497140254845</c:v>
                </c:pt>
                <c:pt idx="73">
                  <c:v>29.885759997123778</c:v>
                </c:pt>
                <c:pt idx="74">
                  <c:v>28.912038493458088</c:v>
                </c:pt>
                <c:pt idx="75">
                  <c:v>28.687333531073701</c:v>
                </c:pt>
                <c:pt idx="76">
                  <c:v>30.784579846661337</c:v>
                </c:pt>
                <c:pt idx="77">
                  <c:v>28.986940147586221</c:v>
                </c:pt>
                <c:pt idx="78">
                  <c:v>28.837136839329958</c:v>
                </c:pt>
                <c:pt idx="79">
                  <c:v>28.762235185201831</c:v>
                </c:pt>
                <c:pt idx="80">
                  <c:v>27.713612027408011</c:v>
                </c:pt>
                <c:pt idx="81">
                  <c:v>28.013218643920531</c:v>
                </c:pt>
                <c:pt idx="82">
                  <c:v>29.136743455842478</c:v>
                </c:pt>
                <c:pt idx="83">
                  <c:v>27.938316989792405</c:v>
                </c:pt>
                <c:pt idx="84">
                  <c:v>28.762235185201831</c:v>
                </c:pt>
                <c:pt idx="85">
                  <c:v>30.410071576020687</c:v>
                </c:pt>
                <c:pt idx="86">
                  <c:v>31.009284809045724</c:v>
                </c:pt>
                <c:pt idx="87">
                  <c:v>29.511251726483128</c:v>
                </c:pt>
                <c:pt idx="88">
                  <c:v>29.136743455842478</c:v>
                </c:pt>
                <c:pt idx="89">
                  <c:v>27.713612027408011</c:v>
                </c:pt>
                <c:pt idx="90">
                  <c:v>28.312825260433051</c:v>
                </c:pt>
                <c:pt idx="91">
                  <c:v>27.713612027408011</c:v>
                </c:pt>
                <c:pt idx="92">
                  <c:v>25.990873982461032</c:v>
                </c:pt>
                <c:pt idx="93">
                  <c:v>25.541464057692249</c:v>
                </c:pt>
                <c:pt idx="94">
                  <c:v>26.440283907229809</c:v>
                </c:pt>
                <c:pt idx="95">
                  <c:v>26.814792177870459</c:v>
                </c:pt>
                <c:pt idx="96">
                  <c:v>27.189300448511105</c:v>
                </c:pt>
                <c:pt idx="97">
                  <c:v>29.810858342995648</c:v>
                </c:pt>
                <c:pt idx="98">
                  <c:v>35.802990673246029</c:v>
                </c:pt>
                <c:pt idx="99">
                  <c:v>37.301023755808622</c:v>
                </c:pt>
                <c:pt idx="100">
                  <c:v>39.697876687908774</c:v>
                </c:pt>
                <c:pt idx="101">
                  <c:v>40.596696537446334</c:v>
                </c:pt>
                <c:pt idx="102">
                  <c:v>41.046106462215107</c:v>
                </c:pt>
                <c:pt idx="103">
                  <c:v>41.570418041112021</c:v>
                </c:pt>
                <c:pt idx="104">
                  <c:v>41.570418041112021</c:v>
                </c:pt>
                <c:pt idx="105">
                  <c:v>39.697876687908774</c:v>
                </c:pt>
                <c:pt idx="106">
                  <c:v>43.068451123674613</c:v>
                </c:pt>
                <c:pt idx="107">
                  <c:v>45.540205709902899</c:v>
                </c:pt>
                <c:pt idx="108">
                  <c:v>45.690009018159159</c:v>
                </c:pt>
                <c:pt idx="109">
                  <c:v>46.813533830081106</c:v>
                </c:pt>
                <c:pt idx="110">
                  <c:v>48.161763604387438</c:v>
                </c:pt>
                <c:pt idx="111">
                  <c:v>49.360190070437511</c:v>
                </c:pt>
                <c:pt idx="112">
                  <c:v>49.584895032821905</c:v>
                </c:pt>
                <c:pt idx="113">
                  <c:v>49.509993378693778</c:v>
                </c:pt>
                <c:pt idx="114">
                  <c:v>48.536271875028092</c:v>
                </c:pt>
                <c:pt idx="115">
                  <c:v>50.633518190615725</c:v>
                </c:pt>
                <c:pt idx="116">
                  <c:v>51.757043002537671</c:v>
                </c:pt>
                <c:pt idx="117">
                  <c:v>52.356256235562711</c:v>
                </c:pt>
                <c:pt idx="118">
                  <c:v>52.356256235562711</c:v>
                </c:pt>
                <c:pt idx="119">
                  <c:v>49.435091724565645</c:v>
                </c:pt>
                <c:pt idx="120">
                  <c:v>52.58096119794709</c:v>
                </c:pt>
                <c:pt idx="121">
                  <c:v>54.97781413004725</c:v>
                </c:pt>
                <c:pt idx="122">
                  <c:v>57.973880295172442</c:v>
                </c:pt>
                <c:pt idx="123">
                  <c:v>60.220929919016335</c:v>
                </c:pt>
                <c:pt idx="124">
                  <c:v>60.520536535528848</c:v>
                </c:pt>
                <c:pt idx="125">
                  <c:v>62.318176234603968</c:v>
                </c:pt>
                <c:pt idx="126">
                  <c:v>68.984423452007519</c:v>
                </c:pt>
                <c:pt idx="127">
                  <c:v>67.711095331829313</c:v>
                </c:pt>
                <c:pt idx="128">
                  <c:v>68.909521797879393</c:v>
                </c:pt>
                <c:pt idx="129">
                  <c:v>72.055391271260831</c:v>
                </c:pt>
                <c:pt idx="130">
                  <c:v>73.253817737310911</c:v>
                </c:pt>
                <c:pt idx="131">
                  <c:v>73.328719391439037</c:v>
                </c:pt>
                <c:pt idx="132">
                  <c:v>79.320851721689422</c:v>
                </c:pt>
                <c:pt idx="133">
                  <c:v>79.845163300586321</c:v>
                </c:pt>
                <c:pt idx="134">
                  <c:v>86.511410517989887</c:v>
                </c:pt>
                <c:pt idx="135">
                  <c:v>90.031788262011972</c:v>
                </c:pt>
                <c:pt idx="136">
                  <c:v>93.177657735393424</c:v>
                </c:pt>
                <c:pt idx="137">
                  <c:v>98.270970216106264</c:v>
                </c:pt>
                <c:pt idx="138">
                  <c:v>104.56270916286915</c:v>
                </c:pt>
                <c:pt idx="139">
                  <c:v>116.47207216924178</c:v>
                </c:pt>
                <c:pt idx="140">
                  <c:v>133.32494434807097</c:v>
                </c:pt>
                <c:pt idx="141">
                  <c:v>153.54839096266602</c:v>
                </c:pt>
                <c:pt idx="142">
                  <c:v>179.76396990751144</c:v>
                </c:pt>
                <c:pt idx="143">
                  <c:v>203.73249922851295</c:v>
                </c:pt>
                <c:pt idx="144">
                  <c:v>226.87711035410504</c:v>
                </c:pt>
                <c:pt idx="145">
                  <c:v>239.38568659350275</c:v>
                </c:pt>
                <c:pt idx="146">
                  <c:v>255.78914884756315</c:v>
                </c:pt>
                <c:pt idx="147">
                  <c:v>295.4870255354719</c:v>
                </c:pt>
                <c:pt idx="148">
                  <c:v>321.92730944270176</c:v>
                </c:pt>
                <c:pt idx="149">
                  <c:v>332.26373771238366</c:v>
                </c:pt>
                <c:pt idx="150">
                  <c:v>346.04564207195955</c:v>
                </c:pt>
                <c:pt idx="151">
                  <c:v>358.77892327374155</c:v>
                </c:pt>
                <c:pt idx="152">
                  <c:v>365.07066222050452</c:v>
                </c:pt>
                <c:pt idx="153">
                  <c:v>386.71724026353399</c:v>
                </c:pt>
                <c:pt idx="154">
                  <c:v>415.62927875699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397-4169-846F-DF9410986C0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55.577027363072283</c:v>
                </c:pt>
                <c:pt idx="123">
                  <c:v>57.674273678659915</c:v>
                </c:pt>
                <c:pt idx="124">
                  <c:v>59.921323302503808</c:v>
                </c:pt>
                <c:pt idx="125">
                  <c:v>62.168372926347701</c:v>
                </c:pt>
                <c:pt idx="126">
                  <c:v>64.490324204319734</c:v>
                </c:pt>
                <c:pt idx="127">
                  <c:v>66.887177136419879</c:v>
                </c:pt>
                <c:pt idx="128">
                  <c:v>69.508735030904418</c:v>
                </c:pt>
                <c:pt idx="129">
                  <c:v>72.130292925388957</c:v>
                </c:pt>
                <c:pt idx="130">
                  <c:v>74.826752474001637</c:v>
                </c:pt>
                <c:pt idx="131">
                  <c:v>77.598113676742429</c:v>
                </c:pt>
                <c:pt idx="132">
                  <c:v>80.519278187739502</c:v>
                </c:pt>
                <c:pt idx="133">
                  <c:v>83.515344352864687</c:v>
                </c:pt>
                <c:pt idx="134">
                  <c:v>86.66121382624614</c:v>
                </c:pt>
                <c:pt idx="135">
                  <c:v>89.881984953755719</c:v>
                </c:pt>
                <c:pt idx="136">
                  <c:v>93.252559389521551</c:v>
                </c:pt>
                <c:pt idx="137">
                  <c:v>96.698035479415537</c:v>
                </c:pt>
                <c:pt idx="138">
                  <c:v>100.21841322343762</c:v>
                </c:pt>
                <c:pt idx="139">
                  <c:v>103.88859427571599</c:v>
                </c:pt>
                <c:pt idx="140">
                  <c:v>107.70857863625061</c:v>
                </c:pt>
                <c:pt idx="141">
                  <c:v>111.60346465091335</c:v>
                </c:pt>
                <c:pt idx="142">
                  <c:v>115.64815397383235</c:v>
                </c:pt>
                <c:pt idx="143">
                  <c:v>119.84264660500762</c:v>
                </c:pt>
                <c:pt idx="144">
                  <c:v>124.18694254443916</c:v>
                </c:pt>
                <c:pt idx="145">
                  <c:v>128.68104179212693</c:v>
                </c:pt>
                <c:pt idx="146">
                  <c:v>133.32494434807097</c:v>
                </c:pt>
                <c:pt idx="147">
                  <c:v>138.11865021227129</c:v>
                </c:pt>
                <c:pt idx="148">
                  <c:v>143.13706103885596</c:v>
                </c:pt>
                <c:pt idx="149">
                  <c:v>148.23037351956881</c:v>
                </c:pt>
                <c:pt idx="150">
                  <c:v>153.47348930853789</c:v>
                </c:pt>
                <c:pt idx="151">
                  <c:v>158.94131005989135</c:v>
                </c:pt>
                <c:pt idx="152">
                  <c:v>164.63383577362922</c:v>
                </c:pt>
                <c:pt idx="153">
                  <c:v>170.47616479562336</c:v>
                </c:pt>
                <c:pt idx="154">
                  <c:v>176.54319878000186</c:v>
                </c:pt>
                <c:pt idx="155">
                  <c:v>182.76003607263664</c:v>
                </c:pt>
                <c:pt idx="156">
                  <c:v>189.27647998178392</c:v>
                </c:pt>
                <c:pt idx="157">
                  <c:v>196.01762885331559</c:v>
                </c:pt>
                <c:pt idx="158">
                  <c:v>202.90858103310353</c:v>
                </c:pt>
                <c:pt idx="159">
                  <c:v>210.02423817527588</c:v>
                </c:pt>
                <c:pt idx="160">
                  <c:v>217.43950193396071</c:v>
                </c:pt>
                <c:pt idx="161">
                  <c:v>225.07947065502995</c:v>
                </c:pt>
                <c:pt idx="162">
                  <c:v>233.01904599261169</c:v>
                </c:pt>
                <c:pt idx="163">
                  <c:v>241.18332629257785</c:v>
                </c:pt>
                <c:pt idx="164">
                  <c:v>249.6472132090565</c:v>
                </c:pt>
                <c:pt idx="165">
                  <c:v>258.41070674204769</c:v>
                </c:pt>
                <c:pt idx="166">
                  <c:v>267.47380689155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397-4169-846F-DF9410986C0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55.87663397958481</c:v>
                </c:pt>
                <c:pt idx="123">
                  <c:v>58.498191874069349</c:v>
                </c:pt>
                <c:pt idx="124">
                  <c:v>61.344454730938281</c:v>
                </c:pt>
                <c:pt idx="125">
                  <c:v>64.340520896063467</c:v>
                </c:pt>
                <c:pt idx="126">
                  <c:v>67.561292023573046</c:v>
                </c:pt>
                <c:pt idx="127">
                  <c:v>71.081669767595145</c:v>
                </c:pt>
                <c:pt idx="128">
                  <c:v>75.051457436386031</c:v>
                </c:pt>
                <c:pt idx="129">
                  <c:v>79.021245105176902</c:v>
                </c:pt>
                <c:pt idx="130">
                  <c:v>83.065934428095915</c:v>
                </c:pt>
                <c:pt idx="131">
                  <c:v>87.335328713399306</c:v>
                </c:pt>
                <c:pt idx="132">
                  <c:v>91.904329615215218</c:v>
                </c:pt>
                <c:pt idx="133">
                  <c:v>96.77293713354365</c:v>
                </c:pt>
                <c:pt idx="134">
                  <c:v>101.86624961425647</c:v>
                </c:pt>
                <c:pt idx="135">
                  <c:v>107.18426705735369</c:v>
                </c:pt>
                <c:pt idx="136">
                  <c:v>112.72698946283529</c:v>
                </c:pt>
                <c:pt idx="137">
                  <c:v>118.4944168307013</c:v>
                </c:pt>
                <c:pt idx="138">
                  <c:v>124.63635246920794</c:v>
                </c:pt>
                <c:pt idx="139">
                  <c:v>131.07789472422709</c:v>
                </c:pt>
                <c:pt idx="140">
                  <c:v>137.81904359575879</c:v>
                </c:pt>
                <c:pt idx="141">
                  <c:v>144.85979908380298</c:v>
                </c:pt>
                <c:pt idx="142">
                  <c:v>152.20016118835969</c:v>
                </c:pt>
                <c:pt idx="143">
                  <c:v>159.91503156355705</c:v>
                </c:pt>
                <c:pt idx="144">
                  <c:v>168.0793118635232</c:v>
                </c:pt>
                <c:pt idx="145">
                  <c:v>176.61810043412999</c:v>
                </c:pt>
                <c:pt idx="146">
                  <c:v>185.53139727537743</c:v>
                </c:pt>
                <c:pt idx="147">
                  <c:v>194.89410404139366</c:v>
                </c:pt>
                <c:pt idx="148">
                  <c:v>204.78112238630681</c:v>
                </c:pt>
                <c:pt idx="149">
                  <c:v>215.11755065598868</c:v>
                </c:pt>
                <c:pt idx="150">
                  <c:v>225.97829050456752</c:v>
                </c:pt>
                <c:pt idx="151">
                  <c:v>237.3633419320432</c:v>
                </c:pt>
                <c:pt idx="152">
                  <c:v>249.27270493841587</c:v>
                </c:pt>
                <c:pt idx="153">
                  <c:v>261.85618283194168</c:v>
                </c:pt>
                <c:pt idx="154">
                  <c:v>274.96397230436435</c:v>
                </c:pt>
                <c:pt idx="155">
                  <c:v>288.74587666394024</c:v>
                </c:pt>
                <c:pt idx="156">
                  <c:v>303.20189591066929</c:v>
                </c:pt>
                <c:pt idx="157">
                  <c:v>318.33203004455152</c:v>
                </c:pt>
                <c:pt idx="158">
                  <c:v>334.211180719715</c:v>
                </c:pt>
                <c:pt idx="159">
                  <c:v>350.91424959028791</c:v>
                </c:pt>
                <c:pt idx="160">
                  <c:v>368.36633500214219</c:v>
                </c:pt>
                <c:pt idx="161">
                  <c:v>386.79214191766215</c:v>
                </c:pt>
                <c:pt idx="162">
                  <c:v>406.04186702859153</c:v>
                </c:pt>
                <c:pt idx="163">
                  <c:v>426.26531364318646</c:v>
                </c:pt>
                <c:pt idx="164">
                  <c:v>447.53738341557533</c:v>
                </c:pt>
                <c:pt idx="165">
                  <c:v>469.85807634575804</c:v>
                </c:pt>
                <c:pt idx="166">
                  <c:v>493.22739243373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397-4169-846F-DF9410986C0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56.251142250225456</c:v>
                </c:pt>
                <c:pt idx="123">
                  <c:v>59.397011723606902</c:v>
                </c:pt>
                <c:pt idx="124">
                  <c:v>62.917389467629</c:v>
                </c:pt>
                <c:pt idx="125">
                  <c:v>66.662472174035486</c:v>
                </c:pt>
                <c:pt idx="126">
                  <c:v>70.782063151082639</c:v>
                </c:pt>
                <c:pt idx="127">
                  <c:v>75.500867361154803</c:v>
                </c:pt>
                <c:pt idx="128">
                  <c:v>80.893786458380148</c:v>
                </c:pt>
                <c:pt idx="129">
                  <c:v>86.286705555605494</c:v>
                </c:pt>
                <c:pt idx="130">
                  <c:v>91.829427961087092</c:v>
                </c:pt>
                <c:pt idx="131">
                  <c:v>97.746658637209336</c:v>
                </c:pt>
                <c:pt idx="132">
                  <c:v>104.18820089222851</c:v>
                </c:pt>
                <c:pt idx="133">
                  <c:v>111.22895638027269</c:v>
                </c:pt>
                <c:pt idx="134">
                  <c:v>118.64422013895754</c:v>
                </c:pt>
                <c:pt idx="135">
                  <c:v>126.50889382241118</c:v>
                </c:pt>
                <c:pt idx="136">
                  <c:v>134.67317412237733</c:v>
                </c:pt>
                <c:pt idx="137">
                  <c:v>143.43666765536852</c:v>
                </c:pt>
                <c:pt idx="138">
                  <c:v>152.79937442138473</c:v>
                </c:pt>
                <c:pt idx="139">
                  <c:v>162.83619607455412</c:v>
                </c:pt>
                <c:pt idx="140">
                  <c:v>173.47223096074853</c:v>
                </c:pt>
                <c:pt idx="141">
                  <c:v>184.78238073409614</c:v>
                </c:pt>
                <c:pt idx="142">
                  <c:v>196.76664539459688</c:v>
                </c:pt>
                <c:pt idx="143">
                  <c:v>209.49992659637894</c:v>
                </c:pt>
                <c:pt idx="144">
                  <c:v>223.05712599357042</c:v>
                </c:pt>
                <c:pt idx="145">
                  <c:v>237.58804689442761</c:v>
                </c:pt>
                <c:pt idx="146">
                  <c:v>253.01778764482236</c:v>
                </c:pt>
                <c:pt idx="147">
                  <c:v>269.34634824475467</c:v>
                </c:pt>
                <c:pt idx="148">
                  <c:v>286.64863034835264</c:v>
                </c:pt>
                <c:pt idx="149">
                  <c:v>305.07443726387254</c:v>
                </c:pt>
                <c:pt idx="150">
                  <c:v>324.77357229957067</c:v>
                </c:pt>
                <c:pt idx="151">
                  <c:v>345.74603545544699</c:v>
                </c:pt>
                <c:pt idx="152">
                  <c:v>367.91692507737343</c:v>
                </c:pt>
                <c:pt idx="153">
                  <c:v>391.51094612773426</c:v>
                </c:pt>
                <c:pt idx="154">
                  <c:v>416.67790191478582</c:v>
                </c:pt>
                <c:pt idx="155">
                  <c:v>443.41779243852818</c:v>
                </c:pt>
                <c:pt idx="156">
                  <c:v>471.88042100721748</c:v>
                </c:pt>
                <c:pt idx="157">
                  <c:v>502.14068927498192</c:v>
                </c:pt>
                <c:pt idx="158">
                  <c:v>534.34840055007771</c:v>
                </c:pt>
                <c:pt idx="159">
                  <c:v>568.57845648663306</c:v>
                </c:pt>
                <c:pt idx="160">
                  <c:v>604.98066039290404</c:v>
                </c:pt>
                <c:pt idx="161">
                  <c:v>643.6299139230191</c:v>
                </c:pt>
                <c:pt idx="162">
                  <c:v>684.82582369349041</c:v>
                </c:pt>
                <c:pt idx="163">
                  <c:v>728.64329135844639</c:v>
                </c:pt>
                <c:pt idx="164">
                  <c:v>775.23212022614314</c:v>
                </c:pt>
                <c:pt idx="165">
                  <c:v>824.74211360483685</c:v>
                </c:pt>
                <c:pt idx="166">
                  <c:v>877.47287811104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397-4169-846F-DF9410986C0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56.251142250225456</c:v>
                </c:pt>
                <c:pt idx="123">
                  <c:v>59.397011723606902</c:v>
                </c:pt>
                <c:pt idx="124">
                  <c:v>62.917389467629</c:v>
                </c:pt>
                <c:pt idx="125">
                  <c:v>66.662472174035486</c:v>
                </c:pt>
                <c:pt idx="126">
                  <c:v>70.782063151082639</c:v>
                </c:pt>
                <c:pt idx="127">
                  <c:v>75.500867361154803</c:v>
                </c:pt>
                <c:pt idx="128">
                  <c:v>80.893786458380148</c:v>
                </c:pt>
                <c:pt idx="129">
                  <c:v>86.286705555605494</c:v>
                </c:pt>
                <c:pt idx="130">
                  <c:v>91.829427961087092</c:v>
                </c:pt>
                <c:pt idx="131">
                  <c:v>97.746658637209336</c:v>
                </c:pt>
                <c:pt idx="132">
                  <c:v>104.18820089222851</c:v>
                </c:pt>
                <c:pt idx="133">
                  <c:v>112.42738284632277</c:v>
                </c:pt>
                <c:pt idx="134">
                  <c:v>121.93989292059527</c:v>
                </c:pt>
                <c:pt idx="135">
                  <c:v>132.42612449853343</c:v>
                </c:pt>
                <c:pt idx="136">
                  <c:v>143.58647096362475</c:v>
                </c:pt>
                <c:pt idx="137">
                  <c:v>156.16994885715056</c:v>
                </c:pt>
                <c:pt idx="138">
                  <c:v>170.47616479562336</c:v>
                </c:pt>
                <c:pt idx="139">
                  <c:v>186.80472539555564</c:v>
                </c:pt>
                <c:pt idx="140">
                  <c:v>203.95720419089736</c:v>
                </c:pt>
                <c:pt idx="141">
                  <c:v>222.23320779816103</c:v>
                </c:pt>
                <c:pt idx="142">
                  <c:v>242.08214614211539</c:v>
                </c:pt>
                <c:pt idx="143">
                  <c:v>264.17813410991369</c:v>
                </c:pt>
                <c:pt idx="144">
                  <c:v>288.44627004742773</c:v>
                </c:pt>
                <c:pt idx="145">
                  <c:v>314.96145560878563</c:v>
                </c:pt>
                <c:pt idx="146">
                  <c:v>343.64878913985939</c:v>
                </c:pt>
                <c:pt idx="147">
                  <c:v>374.6580739489051</c:v>
                </c:pt>
                <c:pt idx="148">
                  <c:v>408.43871996069163</c:v>
                </c:pt>
                <c:pt idx="149">
                  <c:v>445.51503875411584</c:v>
                </c:pt>
                <c:pt idx="150">
                  <c:v>486.11173529156218</c:v>
                </c:pt>
                <c:pt idx="151">
                  <c:v>530.30371122715871</c:v>
                </c:pt>
                <c:pt idx="152">
                  <c:v>578.31567152328989</c:v>
                </c:pt>
                <c:pt idx="153">
                  <c:v>630.59702610472448</c:v>
                </c:pt>
                <c:pt idx="154">
                  <c:v>680.1819211375464</c:v>
                </c:pt>
                <c:pt idx="155">
                  <c:v>730.06642278688082</c:v>
                </c:pt>
                <c:pt idx="156">
                  <c:v>782.12307240593111</c:v>
                </c:pt>
                <c:pt idx="157">
                  <c:v>837.32559149836266</c:v>
                </c:pt>
                <c:pt idx="158">
                  <c:v>894.02614367335696</c:v>
                </c:pt>
                <c:pt idx="159">
                  <c:v>951.25100742724806</c:v>
                </c:pt>
                <c:pt idx="160">
                  <c:v>1008.4758711811392</c:v>
                </c:pt>
                <c:pt idx="161">
                  <c:v>1072.7414904230745</c:v>
                </c:pt>
                <c:pt idx="162">
                  <c:v>1142.9992419952603</c:v>
                </c:pt>
                <c:pt idx="163">
                  <c:v>1217.7510928151337</c:v>
                </c:pt>
                <c:pt idx="164">
                  <c:v>1295.4990098001324</c:v>
                </c:pt>
                <c:pt idx="165">
                  <c:v>1377.0669111456657</c:v>
                </c:pt>
                <c:pt idx="166">
                  <c:v>1463.7281249719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397-4169-846F-DF9410986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12</c:v>
                </c:pt>
                <c:pt idx="1">
                  <c:v>64</c:v>
                </c:pt>
                <c:pt idx="2">
                  <c:v>283</c:v>
                </c:pt>
                <c:pt idx="3">
                  <c:v>275</c:v>
                </c:pt>
                <c:pt idx="4">
                  <c:v>156</c:v>
                </c:pt>
                <c:pt idx="5">
                  <c:v>169</c:v>
                </c:pt>
                <c:pt idx="6">
                  <c:v>165</c:v>
                </c:pt>
                <c:pt idx="7">
                  <c:v>90</c:v>
                </c:pt>
                <c:pt idx="8">
                  <c:v>33</c:v>
                </c:pt>
                <c:pt idx="9">
                  <c:v>119</c:v>
                </c:pt>
                <c:pt idx="10">
                  <c:v>195</c:v>
                </c:pt>
                <c:pt idx="11">
                  <c:v>128</c:v>
                </c:pt>
                <c:pt idx="12">
                  <c:v>142</c:v>
                </c:pt>
                <c:pt idx="13">
                  <c:v>125</c:v>
                </c:pt>
                <c:pt idx="14">
                  <c:v>66</c:v>
                </c:pt>
                <c:pt idx="15">
                  <c:v>20</c:v>
                </c:pt>
                <c:pt idx="16">
                  <c:v>124</c:v>
                </c:pt>
                <c:pt idx="17">
                  <c:v>121</c:v>
                </c:pt>
                <c:pt idx="18">
                  <c:v>61</c:v>
                </c:pt>
                <c:pt idx="19">
                  <c:v>44</c:v>
                </c:pt>
                <c:pt idx="20">
                  <c:v>68</c:v>
                </c:pt>
                <c:pt idx="21">
                  <c:v>22</c:v>
                </c:pt>
                <c:pt idx="22">
                  <c:v>12</c:v>
                </c:pt>
                <c:pt idx="23">
                  <c:v>79</c:v>
                </c:pt>
                <c:pt idx="24">
                  <c:v>48</c:v>
                </c:pt>
                <c:pt idx="25">
                  <c:v>48</c:v>
                </c:pt>
                <c:pt idx="26">
                  <c:v>49</c:v>
                </c:pt>
                <c:pt idx="27">
                  <c:v>45</c:v>
                </c:pt>
                <c:pt idx="28">
                  <c:v>26</c:v>
                </c:pt>
                <c:pt idx="29">
                  <c:v>13</c:v>
                </c:pt>
                <c:pt idx="30">
                  <c:v>70</c:v>
                </c:pt>
                <c:pt idx="31">
                  <c:v>44</c:v>
                </c:pt>
                <c:pt idx="32">
                  <c:v>41</c:v>
                </c:pt>
                <c:pt idx="33">
                  <c:v>39</c:v>
                </c:pt>
                <c:pt idx="34">
                  <c:v>18</c:v>
                </c:pt>
                <c:pt idx="35">
                  <c:v>17</c:v>
                </c:pt>
                <c:pt idx="36">
                  <c:v>25</c:v>
                </c:pt>
                <c:pt idx="37">
                  <c:v>36</c:v>
                </c:pt>
                <c:pt idx="38">
                  <c:v>46</c:v>
                </c:pt>
                <c:pt idx="39">
                  <c:v>28</c:v>
                </c:pt>
                <c:pt idx="40">
                  <c:v>17</c:v>
                </c:pt>
                <c:pt idx="41">
                  <c:v>15</c:v>
                </c:pt>
                <c:pt idx="42">
                  <c:v>7</c:v>
                </c:pt>
                <c:pt idx="43">
                  <c:v>8</c:v>
                </c:pt>
                <c:pt idx="44">
                  <c:v>26</c:v>
                </c:pt>
                <c:pt idx="45">
                  <c:v>28</c:v>
                </c:pt>
                <c:pt idx="46">
                  <c:v>18</c:v>
                </c:pt>
                <c:pt idx="47">
                  <c:v>26</c:v>
                </c:pt>
                <c:pt idx="48">
                  <c:v>20</c:v>
                </c:pt>
                <c:pt idx="49">
                  <c:v>7</c:v>
                </c:pt>
                <c:pt idx="50">
                  <c:v>11</c:v>
                </c:pt>
                <c:pt idx="51">
                  <c:v>14</c:v>
                </c:pt>
                <c:pt idx="52">
                  <c:v>15</c:v>
                </c:pt>
                <c:pt idx="53">
                  <c:v>13</c:v>
                </c:pt>
                <c:pt idx="54">
                  <c:v>22</c:v>
                </c:pt>
                <c:pt idx="55">
                  <c:v>35</c:v>
                </c:pt>
                <c:pt idx="56">
                  <c:v>9</c:v>
                </c:pt>
                <c:pt idx="57">
                  <c:v>6</c:v>
                </c:pt>
                <c:pt idx="58">
                  <c:v>18</c:v>
                </c:pt>
                <c:pt idx="59">
                  <c:v>23</c:v>
                </c:pt>
                <c:pt idx="60">
                  <c:v>24</c:v>
                </c:pt>
                <c:pt idx="61">
                  <c:v>27</c:v>
                </c:pt>
                <c:pt idx="62">
                  <c:v>24</c:v>
                </c:pt>
                <c:pt idx="63">
                  <c:v>20</c:v>
                </c:pt>
                <c:pt idx="64">
                  <c:v>22</c:v>
                </c:pt>
                <c:pt idx="65">
                  <c:v>25</c:v>
                </c:pt>
                <c:pt idx="66">
                  <c:v>27</c:v>
                </c:pt>
                <c:pt idx="67">
                  <c:v>45</c:v>
                </c:pt>
                <c:pt idx="68">
                  <c:v>37</c:v>
                </c:pt>
                <c:pt idx="69">
                  <c:v>46</c:v>
                </c:pt>
                <c:pt idx="70">
                  <c:v>38</c:v>
                </c:pt>
                <c:pt idx="71">
                  <c:v>31</c:v>
                </c:pt>
                <c:pt idx="72">
                  <c:v>44</c:v>
                </c:pt>
                <c:pt idx="73">
                  <c:v>47</c:v>
                </c:pt>
                <c:pt idx="74">
                  <c:v>53</c:v>
                </c:pt>
                <c:pt idx="75">
                  <c:v>38</c:v>
                </c:pt>
                <c:pt idx="76">
                  <c:v>48</c:v>
                </c:pt>
                <c:pt idx="77">
                  <c:v>33</c:v>
                </c:pt>
                <c:pt idx="78">
                  <c:v>20</c:v>
                </c:pt>
                <c:pt idx="79">
                  <c:v>38</c:v>
                </c:pt>
                <c:pt idx="80">
                  <c:v>63</c:v>
                </c:pt>
                <c:pt idx="81">
                  <c:v>31</c:v>
                </c:pt>
                <c:pt idx="82">
                  <c:v>29</c:v>
                </c:pt>
                <c:pt idx="83">
                  <c:v>34</c:v>
                </c:pt>
                <c:pt idx="84">
                  <c:v>30</c:v>
                </c:pt>
                <c:pt idx="85">
                  <c:v>9</c:v>
                </c:pt>
                <c:pt idx="86">
                  <c:v>38</c:v>
                </c:pt>
                <c:pt idx="87">
                  <c:v>29</c:v>
                </c:pt>
                <c:pt idx="88">
                  <c:v>29</c:v>
                </c:pt>
                <c:pt idx="89">
                  <c:v>35</c:v>
                </c:pt>
                <c:pt idx="90">
                  <c:v>17</c:v>
                </c:pt>
                <c:pt idx="91">
                  <c:v>25</c:v>
                </c:pt>
                <c:pt idx="92">
                  <c:v>10</c:v>
                </c:pt>
                <c:pt idx="93">
                  <c:v>25</c:v>
                </c:pt>
                <c:pt idx="94">
                  <c:v>42</c:v>
                </c:pt>
                <c:pt idx="95">
                  <c:v>27</c:v>
                </c:pt>
                <c:pt idx="96">
                  <c:v>22</c:v>
                </c:pt>
                <c:pt idx="97">
                  <c:v>25</c:v>
                </c:pt>
                <c:pt idx="98">
                  <c:v>29</c:v>
                </c:pt>
                <c:pt idx="99">
                  <c:v>20</c:v>
                </c:pt>
                <c:pt idx="100">
                  <c:v>18</c:v>
                </c:pt>
                <c:pt idx="101">
                  <c:v>39</c:v>
                </c:pt>
                <c:pt idx="102">
                  <c:v>42</c:v>
                </c:pt>
                <c:pt idx="103">
                  <c:v>30</c:v>
                </c:pt>
                <c:pt idx="104">
                  <c:v>35</c:v>
                </c:pt>
                <c:pt idx="105">
                  <c:v>24</c:v>
                </c:pt>
                <c:pt idx="106">
                  <c:v>10</c:v>
                </c:pt>
                <c:pt idx="107">
                  <c:v>18</c:v>
                </c:pt>
                <c:pt idx="108">
                  <c:v>40</c:v>
                </c:pt>
                <c:pt idx="109">
                  <c:v>38</c:v>
                </c:pt>
                <c:pt idx="110">
                  <c:v>23</c:v>
                </c:pt>
                <c:pt idx="111">
                  <c:v>28</c:v>
                </c:pt>
                <c:pt idx="112">
                  <c:v>20</c:v>
                </c:pt>
                <c:pt idx="113">
                  <c:v>25</c:v>
                </c:pt>
                <c:pt idx="114">
                  <c:v>44</c:v>
                </c:pt>
                <c:pt idx="115">
                  <c:v>36</c:v>
                </c:pt>
                <c:pt idx="116">
                  <c:v>32</c:v>
                </c:pt>
                <c:pt idx="117">
                  <c:v>42</c:v>
                </c:pt>
                <c:pt idx="118">
                  <c:v>33</c:v>
                </c:pt>
                <c:pt idx="119">
                  <c:v>26</c:v>
                </c:pt>
                <c:pt idx="120">
                  <c:v>20</c:v>
                </c:pt>
                <c:pt idx="121">
                  <c:v>40</c:v>
                </c:pt>
                <c:pt idx="122">
                  <c:v>26</c:v>
                </c:pt>
                <c:pt idx="123">
                  <c:v>35</c:v>
                </c:pt>
                <c:pt idx="124">
                  <c:v>45</c:v>
                </c:pt>
                <c:pt idx="125">
                  <c:v>42</c:v>
                </c:pt>
                <c:pt idx="126">
                  <c:v>29</c:v>
                </c:pt>
                <c:pt idx="127">
                  <c:v>18</c:v>
                </c:pt>
                <c:pt idx="128">
                  <c:v>44</c:v>
                </c:pt>
                <c:pt idx="129">
                  <c:v>101</c:v>
                </c:pt>
                <c:pt idx="130">
                  <c:v>40</c:v>
                </c:pt>
                <c:pt idx="131">
                  <c:v>55</c:v>
                </c:pt>
                <c:pt idx="132">
                  <c:v>68</c:v>
                </c:pt>
                <c:pt idx="133">
                  <c:v>34</c:v>
                </c:pt>
                <c:pt idx="134">
                  <c:v>20</c:v>
                </c:pt>
                <c:pt idx="135">
                  <c:v>77</c:v>
                </c:pt>
                <c:pt idx="136">
                  <c:v>72</c:v>
                </c:pt>
                <c:pt idx="137">
                  <c:v>70</c:v>
                </c:pt>
                <c:pt idx="138">
                  <c:v>83</c:v>
                </c:pt>
                <c:pt idx="139">
                  <c:v>59</c:v>
                </c:pt>
                <c:pt idx="140">
                  <c:v>47</c:v>
                </c:pt>
                <c:pt idx="141">
                  <c:v>21</c:v>
                </c:pt>
                <c:pt idx="142">
                  <c:v>76</c:v>
                </c:pt>
                <c:pt idx="143">
                  <c:v>84</c:v>
                </c:pt>
                <c:pt idx="144">
                  <c:v>87</c:v>
                </c:pt>
                <c:pt idx="145">
                  <c:v>73</c:v>
                </c:pt>
                <c:pt idx="146">
                  <c:v>86</c:v>
                </c:pt>
                <c:pt idx="147">
                  <c:v>54</c:v>
                </c:pt>
                <c:pt idx="148">
                  <c:v>43</c:v>
                </c:pt>
                <c:pt idx="149">
                  <c:v>96</c:v>
                </c:pt>
                <c:pt idx="150">
                  <c:v>82</c:v>
                </c:pt>
                <c:pt idx="151">
                  <c:v>92</c:v>
                </c:pt>
                <c:pt idx="152">
                  <c:v>140</c:v>
                </c:pt>
                <c:pt idx="153">
                  <c:v>126</c:v>
                </c:pt>
                <c:pt idx="154">
                  <c:v>85</c:v>
                </c:pt>
                <c:pt idx="155">
                  <c:v>33</c:v>
                </c:pt>
                <c:pt idx="156">
                  <c:v>89</c:v>
                </c:pt>
                <c:pt idx="157">
                  <c:v>148</c:v>
                </c:pt>
                <c:pt idx="158">
                  <c:v>147</c:v>
                </c:pt>
                <c:pt idx="159">
                  <c:v>125</c:v>
                </c:pt>
                <c:pt idx="160">
                  <c:v>108</c:v>
                </c:pt>
                <c:pt idx="161">
                  <c:v>98</c:v>
                </c:pt>
                <c:pt idx="162">
                  <c:v>33</c:v>
                </c:pt>
                <c:pt idx="163">
                  <c:v>145</c:v>
                </c:pt>
                <c:pt idx="164">
                  <c:v>156</c:v>
                </c:pt>
                <c:pt idx="165">
                  <c:v>177</c:v>
                </c:pt>
                <c:pt idx="166">
                  <c:v>174</c:v>
                </c:pt>
                <c:pt idx="167">
                  <c:v>172</c:v>
                </c:pt>
                <c:pt idx="168">
                  <c:v>139</c:v>
                </c:pt>
                <c:pt idx="169">
                  <c:v>92</c:v>
                </c:pt>
                <c:pt idx="170">
                  <c:v>310</c:v>
                </c:pt>
                <c:pt idx="171">
                  <c:v>394</c:v>
                </c:pt>
                <c:pt idx="172">
                  <c:v>360</c:v>
                </c:pt>
                <c:pt idx="173">
                  <c:v>452</c:v>
                </c:pt>
                <c:pt idx="174">
                  <c:v>428</c:v>
                </c:pt>
                <c:pt idx="175">
                  <c:v>329</c:v>
                </c:pt>
                <c:pt idx="176">
                  <c:v>215</c:v>
                </c:pt>
                <c:pt idx="177">
                  <c:v>482</c:v>
                </c:pt>
                <c:pt idx="178">
                  <c:v>670</c:v>
                </c:pt>
                <c:pt idx="179">
                  <c:v>624</c:v>
                </c:pt>
                <c:pt idx="180">
                  <c:v>532</c:v>
                </c:pt>
                <c:pt idx="181">
                  <c:v>603</c:v>
                </c:pt>
                <c:pt idx="182">
                  <c:v>631</c:v>
                </c:pt>
                <c:pt idx="183">
                  <c:v>336</c:v>
                </c:pt>
                <c:pt idx="184">
                  <c:v>778</c:v>
                </c:pt>
                <c:pt idx="185">
                  <c:v>1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1A-4DA9-AEBB-75C7990459F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118</c:v>
                </c:pt>
                <c:pt idx="154">
                  <c:v>123</c:v>
                </c:pt>
                <c:pt idx="155">
                  <c:v>128</c:v>
                </c:pt>
                <c:pt idx="156">
                  <c:v>133</c:v>
                </c:pt>
                <c:pt idx="157">
                  <c:v>137</c:v>
                </c:pt>
                <c:pt idx="158">
                  <c:v>143</c:v>
                </c:pt>
                <c:pt idx="159">
                  <c:v>148</c:v>
                </c:pt>
                <c:pt idx="160">
                  <c:v>154</c:v>
                </c:pt>
                <c:pt idx="161">
                  <c:v>159</c:v>
                </c:pt>
                <c:pt idx="162">
                  <c:v>165</c:v>
                </c:pt>
                <c:pt idx="163">
                  <c:v>171</c:v>
                </c:pt>
                <c:pt idx="164">
                  <c:v>178</c:v>
                </c:pt>
                <c:pt idx="165">
                  <c:v>184</c:v>
                </c:pt>
                <c:pt idx="166">
                  <c:v>191</c:v>
                </c:pt>
                <c:pt idx="167">
                  <c:v>198</c:v>
                </c:pt>
                <c:pt idx="168">
                  <c:v>205</c:v>
                </c:pt>
                <c:pt idx="169">
                  <c:v>213</c:v>
                </c:pt>
                <c:pt idx="170">
                  <c:v>221</c:v>
                </c:pt>
                <c:pt idx="171">
                  <c:v>229</c:v>
                </c:pt>
                <c:pt idx="172">
                  <c:v>237</c:v>
                </c:pt>
                <c:pt idx="173">
                  <c:v>245</c:v>
                </c:pt>
                <c:pt idx="174">
                  <c:v>254</c:v>
                </c:pt>
                <c:pt idx="175">
                  <c:v>263</c:v>
                </c:pt>
                <c:pt idx="176">
                  <c:v>273</c:v>
                </c:pt>
                <c:pt idx="177">
                  <c:v>283</c:v>
                </c:pt>
                <c:pt idx="178">
                  <c:v>293</c:v>
                </c:pt>
                <c:pt idx="179">
                  <c:v>303</c:v>
                </c:pt>
                <c:pt idx="180">
                  <c:v>314</c:v>
                </c:pt>
                <c:pt idx="181">
                  <c:v>325</c:v>
                </c:pt>
                <c:pt idx="182">
                  <c:v>337</c:v>
                </c:pt>
                <c:pt idx="183">
                  <c:v>349</c:v>
                </c:pt>
                <c:pt idx="184">
                  <c:v>361</c:v>
                </c:pt>
                <c:pt idx="185">
                  <c:v>374</c:v>
                </c:pt>
                <c:pt idx="186">
                  <c:v>387</c:v>
                </c:pt>
                <c:pt idx="187">
                  <c:v>401</c:v>
                </c:pt>
                <c:pt idx="188">
                  <c:v>415</c:v>
                </c:pt>
                <c:pt idx="189">
                  <c:v>429</c:v>
                </c:pt>
                <c:pt idx="190">
                  <c:v>444</c:v>
                </c:pt>
                <c:pt idx="191">
                  <c:v>460</c:v>
                </c:pt>
                <c:pt idx="192">
                  <c:v>476</c:v>
                </c:pt>
                <c:pt idx="193">
                  <c:v>493</c:v>
                </c:pt>
                <c:pt idx="194">
                  <c:v>510</c:v>
                </c:pt>
                <c:pt idx="195">
                  <c:v>528</c:v>
                </c:pt>
                <c:pt idx="196">
                  <c:v>546</c:v>
                </c:pt>
                <c:pt idx="197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1A-4DA9-AEBB-75C7990459F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123</c:v>
                </c:pt>
                <c:pt idx="154">
                  <c:v>130</c:v>
                </c:pt>
                <c:pt idx="155">
                  <c:v>137</c:v>
                </c:pt>
                <c:pt idx="156">
                  <c:v>142</c:v>
                </c:pt>
                <c:pt idx="157">
                  <c:v>149</c:v>
                </c:pt>
                <c:pt idx="158">
                  <c:v>157</c:v>
                </c:pt>
                <c:pt idx="159">
                  <c:v>166</c:v>
                </c:pt>
                <c:pt idx="160">
                  <c:v>176</c:v>
                </c:pt>
                <c:pt idx="161">
                  <c:v>185</c:v>
                </c:pt>
                <c:pt idx="162">
                  <c:v>194</c:v>
                </c:pt>
                <c:pt idx="163">
                  <c:v>203</c:v>
                </c:pt>
                <c:pt idx="164">
                  <c:v>214</c:v>
                </c:pt>
                <c:pt idx="165">
                  <c:v>226</c:v>
                </c:pt>
                <c:pt idx="166">
                  <c:v>237</c:v>
                </c:pt>
                <c:pt idx="167">
                  <c:v>249</c:v>
                </c:pt>
                <c:pt idx="168">
                  <c:v>262</c:v>
                </c:pt>
                <c:pt idx="169">
                  <c:v>275</c:v>
                </c:pt>
                <c:pt idx="170">
                  <c:v>290</c:v>
                </c:pt>
                <c:pt idx="171">
                  <c:v>304</c:v>
                </c:pt>
                <c:pt idx="172">
                  <c:v>320</c:v>
                </c:pt>
                <c:pt idx="173">
                  <c:v>336</c:v>
                </c:pt>
                <c:pt idx="174">
                  <c:v>353</c:v>
                </c:pt>
                <c:pt idx="175">
                  <c:v>371</c:v>
                </c:pt>
                <c:pt idx="176">
                  <c:v>390</c:v>
                </c:pt>
                <c:pt idx="177">
                  <c:v>409</c:v>
                </c:pt>
                <c:pt idx="178">
                  <c:v>430</c:v>
                </c:pt>
                <c:pt idx="179">
                  <c:v>452</c:v>
                </c:pt>
                <c:pt idx="180">
                  <c:v>474</c:v>
                </c:pt>
                <c:pt idx="181">
                  <c:v>498</c:v>
                </c:pt>
                <c:pt idx="182">
                  <c:v>523</c:v>
                </c:pt>
                <c:pt idx="183">
                  <c:v>550</c:v>
                </c:pt>
                <c:pt idx="184">
                  <c:v>577</c:v>
                </c:pt>
                <c:pt idx="185">
                  <c:v>606</c:v>
                </c:pt>
                <c:pt idx="186">
                  <c:v>636</c:v>
                </c:pt>
                <c:pt idx="187">
                  <c:v>668</c:v>
                </c:pt>
                <c:pt idx="188">
                  <c:v>701</c:v>
                </c:pt>
                <c:pt idx="189">
                  <c:v>736</c:v>
                </c:pt>
                <c:pt idx="190">
                  <c:v>773</c:v>
                </c:pt>
                <c:pt idx="191">
                  <c:v>811</c:v>
                </c:pt>
                <c:pt idx="192">
                  <c:v>852</c:v>
                </c:pt>
                <c:pt idx="193">
                  <c:v>894</c:v>
                </c:pt>
                <c:pt idx="194">
                  <c:v>939</c:v>
                </c:pt>
                <c:pt idx="195">
                  <c:v>985</c:v>
                </c:pt>
                <c:pt idx="196">
                  <c:v>1034</c:v>
                </c:pt>
                <c:pt idx="197">
                  <c:v>1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1A-4DA9-AEBB-75C7990459F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127</c:v>
                </c:pt>
                <c:pt idx="154">
                  <c:v>137</c:v>
                </c:pt>
                <c:pt idx="155">
                  <c:v>145</c:v>
                </c:pt>
                <c:pt idx="156">
                  <c:v>152</c:v>
                </c:pt>
                <c:pt idx="157">
                  <c:v>162</c:v>
                </c:pt>
                <c:pt idx="158">
                  <c:v>173</c:v>
                </c:pt>
                <c:pt idx="159">
                  <c:v>186</c:v>
                </c:pt>
                <c:pt idx="160">
                  <c:v>200</c:v>
                </c:pt>
                <c:pt idx="161">
                  <c:v>212</c:v>
                </c:pt>
                <c:pt idx="162">
                  <c:v>224</c:v>
                </c:pt>
                <c:pt idx="163">
                  <c:v>239</c:v>
                </c:pt>
                <c:pt idx="164">
                  <c:v>255</c:v>
                </c:pt>
                <c:pt idx="165">
                  <c:v>273</c:v>
                </c:pt>
                <c:pt idx="166">
                  <c:v>291</c:v>
                </c:pt>
                <c:pt idx="167">
                  <c:v>309</c:v>
                </c:pt>
                <c:pt idx="168">
                  <c:v>329</c:v>
                </c:pt>
                <c:pt idx="169">
                  <c:v>350</c:v>
                </c:pt>
                <c:pt idx="170">
                  <c:v>373</c:v>
                </c:pt>
                <c:pt idx="171">
                  <c:v>398</c:v>
                </c:pt>
                <c:pt idx="172">
                  <c:v>424</c:v>
                </c:pt>
                <c:pt idx="173">
                  <c:v>451</c:v>
                </c:pt>
                <c:pt idx="174">
                  <c:v>480</c:v>
                </c:pt>
                <c:pt idx="175">
                  <c:v>511</c:v>
                </c:pt>
                <c:pt idx="176">
                  <c:v>544</c:v>
                </c:pt>
                <c:pt idx="177">
                  <c:v>579</c:v>
                </c:pt>
                <c:pt idx="178">
                  <c:v>616</c:v>
                </c:pt>
                <c:pt idx="179">
                  <c:v>656</c:v>
                </c:pt>
                <c:pt idx="180">
                  <c:v>698</c:v>
                </c:pt>
                <c:pt idx="181">
                  <c:v>743</c:v>
                </c:pt>
                <c:pt idx="182">
                  <c:v>791</c:v>
                </c:pt>
                <c:pt idx="183">
                  <c:v>842</c:v>
                </c:pt>
                <c:pt idx="184">
                  <c:v>896</c:v>
                </c:pt>
                <c:pt idx="185">
                  <c:v>953</c:v>
                </c:pt>
                <c:pt idx="186">
                  <c:v>1014</c:v>
                </c:pt>
                <c:pt idx="187">
                  <c:v>1079</c:v>
                </c:pt>
                <c:pt idx="188">
                  <c:v>1148</c:v>
                </c:pt>
                <c:pt idx="189">
                  <c:v>1222</c:v>
                </c:pt>
                <c:pt idx="190">
                  <c:v>1300</c:v>
                </c:pt>
                <c:pt idx="191">
                  <c:v>1383</c:v>
                </c:pt>
                <c:pt idx="192">
                  <c:v>1471</c:v>
                </c:pt>
                <c:pt idx="193">
                  <c:v>1565</c:v>
                </c:pt>
                <c:pt idx="194">
                  <c:v>1665</c:v>
                </c:pt>
                <c:pt idx="195">
                  <c:v>1771</c:v>
                </c:pt>
                <c:pt idx="196">
                  <c:v>1884</c:v>
                </c:pt>
                <c:pt idx="197">
                  <c:v>2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1A-4DA9-AEBB-75C7990459F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127</c:v>
                </c:pt>
                <c:pt idx="154">
                  <c:v>137</c:v>
                </c:pt>
                <c:pt idx="155">
                  <c:v>145</c:v>
                </c:pt>
                <c:pt idx="156">
                  <c:v>152</c:v>
                </c:pt>
                <c:pt idx="157">
                  <c:v>162</c:v>
                </c:pt>
                <c:pt idx="158">
                  <c:v>173</c:v>
                </c:pt>
                <c:pt idx="159">
                  <c:v>186</c:v>
                </c:pt>
                <c:pt idx="160">
                  <c:v>200</c:v>
                </c:pt>
                <c:pt idx="161">
                  <c:v>212</c:v>
                </c:pt>
                <c:pt idx="162">
                  <c:v>224</c:v>
                </c:pt>
                <c:pt idx="163">
                  <c:v>239</c:v>
                </c:pt>
                <c:pt idx="164">
                  <c:v>272</c:v>
                </c:pt>
                <c:pt idx="165">
                  <c:v>300</c:v>
                </c:pt>
                <c:pt idx="166">
                  <c:v>326</c:v>
                </c:pt>
                <c:pt idx="167">
                  <c:v>349</c:v>
                </c:pt>
                <c:pt idx="168">
                  <c:v>380</c:v>
                </c:pt>
                <c:pt idx="169">
                  <c:v>416</c:v>
                </c:pt>
                <c:pt idx="170">
                  <c:v>457</c:v>
                </c:pt>
                <c:pt idx="171">
                  <c:v>502</c:v>
                </c:pt>
                <c:pt idx="172">
                  <c:v>545</c:v>
                </c:pt>
                <c:pt idx="173">
                  <c:v>592</c:v>
                </c:pt>
                <c:pt idx="174">
                  <c:v>644</c:v>
                </c:pt>
                <c:pt idx="175">
                  <c:v>705</c:v>
                </c:pt>
                <c:pt idx="176">
                  <c:v>771</c:v>
                </c:pt>
                <c:pt idx="177">
                  <c:v>841</c:v>
                </c:pt>
                <c:pt idx="178">
                  <c:v>916</c:v>
                </c:pt>
                <c:pt idx="179">
                  <c:v>997</c:v>
                </c:pt>
                <c:pt idx="180">
                  <c:v>1088</c:v>
                </c:pt>
                <c:pt idx="181">
                  <c:v>1188</c:v>
                </c:pt>
                <c:pt idx="182">
                  <c:v>1297</c:v>
                </c:pt>
                <c:pt idx="183">
                  <c:v>1414</c:v>
                </c:pt>
                <c:pt idx="184">
                  <c:v>1540</c:v>
                </c:pt>
                <c:pt idx="185">
                  <c:v>1579</c:v>
                </c:pt>
                <c:pt idx="186">
                  <c:v>1665</c:v>
                </c:pt>
                <c:pt idx="187">
                  <c:v>1784</c:v>
                </c:pt>
                <c:pt idx="188">
                  <c:v>1927</c:v>
                </c:pt>
                <c:pt idx="189">
                  <c:v>2055</c:v>
                </c:pt>
                <c:pt idx="190">
                  <c:v>2179</c:v>
                </c:pt>
                <c:pt idx="191">
                  <c:v>2306</c:v>
                </c:pt>
                <c:pt idx="192">
                  <c:v>2440</c:v>
                </c:pt>
                <c:pt idx="193">
                  <c:v>2606</c:v>
                </c:pt>
                <c:pt idx="194">
                  <c:v>2785</c:v>
                </c:pt>
                <c:pt idx="195">
                  <c:v>2968</c:v>
                </c:pt>
                <c:pt idx="196">
                  <c:v>3147</c:v>
                </c:pt>
                <c:pt idx="197">
                  <c:v>3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1A-4DA9-AEBB-75C799045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514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AF-41D6-8405-081FF68E574F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1.101618959125091</c:v>
                </c:pt>
                <c:pt idx="1">
                  <c:v>20.60090257704416</c:v>
                </c:pt>
                <c:pt idx="2">
                  <c:v>19.885593459785678</c:v>
                </c:pt>
                <c:pt idx="3">
                  <c:v>17.954258843187787</c:v>
                </c:pt>
                <c:pt idx="4">
                  <c:v>17.310480637655161</c:v>
                </c:pt>
                <c:pt idx="5">
                  <c:v>18.168851578365334</c:v>
                </c:pt>
                <c:pt idx="6">
                  <c:v>15.736800579686509</c:v>
                </c:pt>
                <c:pt idx="7">
                  <c:v>15.879862403138205</c:v>
                </c:pt>
                <c:pt idx="8">
                  <c:v>14.949960550702183</c:v>
                </c:pt>
                <c:pt idx="9">
                  <c:v>13.376280492733532</c:v>
                </c:pt>
                <c:pt idx="10">
                  <c:v>13.161687757555988</c:v>
                </c:pt>
                <c:pt idx="11">
                  <c:v>12.44637864029751</c:v>
                </c:pt>
                <c:pt idx="12">
                  <c:v>11.230353140958099</c:v>
                </c:pt>
                <c:pt idx="13">
                  <c:v>10.515044023699621</c:v>
                </c:pt>
                <c:pt idx="14">
                  <c:v>9.2274876126343628</c:v>
                </c:pt>
                <c:pt idx="15">
                  <c:v>8.5121784953758848</c:v>
                </c:pt>
                <c:pt idx="16">
                  <c:v>9.155956700908515</c:v>
                </c:pt>
                <c:pt idx="17">
                  <c:v>9.5136112595377522</c:v>
                </c:pt>
                <c:pt idx="18">
                  <c:v>9.5136112595377522</c:v>
                </c:pt>
                <c:pt idx="19">
                  <c:v>9.7282039947152956</c:v>
                </c:pt>
                <c:pt idx="20">
                  <c:v>8.8698330540051238</c:v>
                </c:pt>
                <c:pt idx="21">
                  <c:v>7.9399312015691024</c:v>
                </c:pt>
                <c:pt idx="22">
                  <c:v>7.5822766429398634</c:v>
                </c:pt>
                <c:pt idx="23">
                  <c:v>7.2961529960364722</c:v>
                </c:pt>
                <c:pt idx="24">
                  <c:v>8.3691166719241874</c:v>
                </c:pt>
                <c:pt idx="25">
                  <c:v>8.5121784953758848</c:v>
                </c:pt>
                <c:pt idx="26">
                  <c:v>8.1545239367466458</c:v>
                </c:pt>
                <c:pt idx="27">
                  <c:v>8.4406475836500352</c:v>
                </c:pt>
                <c:pt idx="28">
                  <c:v>9.0128948774568194</c:v>
                </c:pt>
                <c:pt idx="29">
                  <c:v>9.7997349064411434</c:v>
                </c:pt>
                <c:pt idx="30">
                  <c:v>10.157389465070382</c:v>
                </c:pt>
                <c:pt idx="31">
                  <c:v>9.3705494360860566</c:v>
                </c:pt>
                <c:pt idx="32">
                  <c:v>10.157389465070382</c:v>
                </c:pt>
                <c:pt idx="33">
                  <c:v>11.301884052683947</c:v>
                </c:pt>
                <c:pt idx="34">
                  <c:v>11.802600434764882</c:v>
                </c:pt>
                <c:pt idx="35">
                  <c:v>12.088724081668273</c:v>
                </c:pt>
                <c:pt idx="36">
                  <c:v>13.590873227911077</c:v>
                </c:pt>
                <c:pt idx="37">
                  <c:v>14.306182345169551</c:v>
                </c:pt>
                <c:pt idx="38">
                  <c:v>15.879862403138205</c:v>
                </c:pt>
                <c:pt idx="39">
                  <c:v>17.167418814203465</c:v>
                </c:pt>
                <c:pt idx="40">
                  <c:v>17.811197019736092</c:v>
                </c:pt>
                <c:pt idx="41">
                  <c:v>19.1702843425272</c:v>
                </c:pt>
                <c:pt idx="42">
                  <c:v>20.60090257704416</c:v>
                </c:pt>
                <c:pt idx="43">
                  <c:v>21.173149870850938</c:v>
                </c:pt>
                <c:pt idx="44">
                  <c:v>21.244680782576786</c:v>
                </c:pt>
                <c:pt idx="45">
                  <c:v>21.387742606028482</c:v>
                </c:pt>
                <c:pt idx="46">
                  <c:v>21.030088047399243</c:v>
                </c:pt>
                <c:pt idx="47">
                  <c:v>20.243248018414917</c:v>
                </c:pt>
                <c:pt idx="48">
                  <c:v>19.81406254805983</c:v>
                </c:pt>
                <c:pt idx="49">
                  <c:v>20.958557135673395</c:v>
                </c:pt>
                <c:pt idx="50">
                  <c:v>19.384877077704747</c:v>
                </c:pt>
                <c:pt idx="51">
                  <c:v>18.741098872172113</c:v>
                </c:pt>
                <c:pt idx="52">
                  <c:v>17.739666108010248</c:v>
                </c:pt>
                <c:pt idx="53">
                  <c:v>17.525073372832701</c:v>
                </c:pt>
                <c:pt idx="54">
                  <c:v>16.738233343848375</c:v>
                </c:pt>
                <c:pt idx="55">
                  <c:v>16.738233343848375</c:v>
                </c:pt>
                <c:pt idx="56">
                  <c:v>14.306182345169551</c:v>
                </c:pt>
                <c:pt idx="57">
                  <c:v>14.163120521717859</c:v>
                </c:pt>
                <c:pt idx="58">
                  <c:v>14.592305992072944</c:v>
                </c:pt>
                <c:pt idx="59">
                  <c:v>13.376280492733532</c:v>
                </c:pt>
                <c:pt idx="60">
                  <c:v>13.018625934104293</c:v>
                </c:pt>
                <c:pt idx="61">
                  <c:v>13.090156845830142</c:v>
                </c:pt>
                <c:pt idx="62">
                  <c:v>12.160254993394121</c:v>
                </c:pt>
                <c:pt idx="63">
                  <c:v>13.090156845830142</c:v>
                </c:pt>
                <c:pt idx="64">
                  <c:v>12.947095022378447</c:v>
                </c:pt>
                <c:pt idx="65">
                  <c:v>12.017193169942425</c:v>
                </c:pt>
                <c:pt idx="66">
                  <c:v>12.589440463749206</c:v>
                </c:pt>
                <c:pt idx="67">
                  <c:v>12.875564110652597</c:v>
                </c:pt>
                <c:pt idx="68">
                  <c:v>13.590873227911077</c:v>
                </c:pt>
                <c:pt idx="69">
                  <c:v>13.090156845830142</c:v>
                </c:pt>
                <c:pt idx="70">
                  <c:v>12.875564110652597</c:v>
                </c:pt>
                <c:pt idx="71">
                  <c:v>13.948527786540314</c:v>
                </c:pt>
                <c:pt idx="72">
                  <c:v>14.520775080347097</c:v>
                </c:pt>
                <c:pt idx="73">
                  <c:v>15.236084197605576</c:v>
                </c:pt>
                <c:pt idx="74">
                  <c:v>14.878429638976336</c:v>
                </c:pt>
                <c:pt idx="75">
                  <c:v>14.163120521717859</c:v>
                </c:pt>
                <c:pt idx="76">
                  <c:v>14.163120521717859</c:v>
                </c:pt>
                <c:pt idx="77">
                  <c:v>14.234651433443705</c:v>
                </c:pt>
                <c:pt idx="78">
                  <c:v>13.948527786540314</c:v>
                </c:pt>
                <c:pt idx="79">
                  <c:v>13.447811404459381</c:v>
                </c:pt>
                <c:pt idx="80">
                  <c:v>12.947095022378447</c:v>
                </c:pt>
                <c:pt idx="81">
                  <c:v>12.660971375475055</c:v>
                </c:pt>
                <c:pt idx="82">
                  <c:v>13.733935051362772</c:v>
                </c:pt>
                <c:pt idx="83">
                  <c:v>15.593738756234814</c:v>
                </c:pt>
                <c:pt idx="84">
                  <c:v>15.307615109331422</c:v>
                </c:pt>
                <c:pt idx="85">
                  <c:v>14.878429638976336</c:v>
                </c:pt>
                <c:pt idx="86">
                  <c:v>16.237516961767444</c:v>
                </c:pt>
                <c:pt idx="87">
                  <c:v>16.595171520396679</c:v>
                </c:pt>
                <c:pt idx="88">
                  <c:v>17.02435699075177</c:v>
                </c:pt>
                <c:pt idx="89">
                  <c:v>16.666702432122531</c:v>
                </c:pt>
                <c:pt idx="90">
                  <c:v>16.380578785219139</c:v>
                </c:pt>
                <c:pt idx="91">
                  <c:v>15.66526966796066</c:v>
                </c:pt>
                <c:pt idx="92">
                  <c:v>15.879862403138205</c:v>
                </c:pt>
                <c:pt idx="93">
                  <c:v>16.094455138315748</c:v>
                </c:pt>
                <c:pt idx="94">
                  <c:v>16.738233343848375</c:v>
                </c:pt>
                <c:pt idx="95">
                  <c:v>16.952826079025922</c:v>
                </c:pt>
                <c:pt idx="96">
                  <c:v>16.809764255574226</c:v>
                </c:pt>
                <c:pt idx="97">
                  <c:v>17.095887902477617</c:v>
                </c:pt>
                <c:pt idx="98">
                  <c:v>22.460706281916199</c:v>
                </c:pt>
                <c:pt idx="99">
                  <c:v>22.818360840545438</c:v>
                </c:pt>
                <c:pt idx="100">
                  <c:v>23.533669957803916</c:v>
                </c:pt>
                <c:pt idx="101">
                  <c:v>25.393473662675959</c:v>
                </c:pt>
                <c:pt idx="102">
                  <c:v>25.751128221305194</c:v>
                </c:pt>
                <c:pt idx="103">
                  <c:v>25.894190044756893</c:v>
                </c:pt>
                <c:pt idx="104">
                  <c:v>28.254710131709867</c:v>
                </c:pt>
                <c:pt idx="105">
                  <c:v>26.180313691660285</c:v>
                </c:pt>
                <c:pt idx="106">
                  <c:v>28.326241043435719</c:v>
                </c:pt>
                <c:pt idx="107">
                  <c:v>30.329106571759453</c:v>
                </c:pt>
                <c:pt idx="108">
                  <c:v>29.685328366226823</c:v>
                </c:pt>
                <c:pt idx="109">
                  <c:v>30.615230218662845</c:v>
                </c:pt>
                <c:pt idx="110">
                  <c:v>30.686761130388689</c:v>
                </c:pt>
                <c:pt idx="111">
                  <c:v>30.615230218662845</c:v>
                </c:pt>
                <c:pt idx="112">
                  <c:v>31.473601159373018</c:v>
                </c:pt>
                <c:pt idx="113">
                  <c:v>32.689626658712427</c:v>
                </c:pt>
                <c:pt idx="114">
                  <c:v>31.974317541453949</c:v>
                </c:pt>
                <c:pt idx="115">
                  <c:v>33.905652158051844</c:v>
                </c:pt>
                <c:pt idx="116">
                  <c:v>34.406368540132775</c:v>
                </c:pt>
                <c:pt idx="117">
                  <c:v>35.980048598101426</c:v>
                </c:pt>
                <c:pt idx="118">
                  <c:v>37.410666832618382</c:v>
                </c:pt>
                <c:pt idx="119">
                  <c:v>37.267605009166687</c:v>
                </c:pt>
                <c:pt idx="120">
                  <c:v>37.625259567795929</c:v>
                </c:pt>
                <c:pt idx="121">
                  <c:v>42.417830653427728</c:v>
                </c:pt>
                <c:pt idx="122">
                  <c:v>45.27906712246164</c:v>
                </c:pt>
                <c:pt idx="123">
                  <c:v>47.496525385962919</c:v>
                </c:pt>
                <c:pt idx="124">
                  <c:v>46.781216268704441</c:v>
                </c:pt>
                <c:pt idx="125">
                  <c:v>46.280499886623502</c:v>
                </c:pt>
                <c:pt idx="126">
                  <c:v>51.001540060529457</c:v>
                </c:pt>
                <c:pt idx="127">
                  <c:v>54.93574020545109</c:v>
                </c:pt>
                <c:pt idx="128">
                  <c:v>53.862776529563369</c:v>
                </c:pt>
                <c:pt idx="129">
                  <c:v>52.575220118498109</c:v>
                </c:pt>
                <c:pt idx="130">
                  <c:v>53.505121970934127</c:v>
                </c:pt>
                <c:pt idx="131">
                  <c:v>53.505121970934127</c:v>
                </c:pt>
                <c:pt idx="132">
                  <c:v>57.510853027581604</c:v>
                </c:pt>
                <c:pt idx="133">
                  <c:v>58.083100321388386</c:v>
                </c:pt>
                <c:pt idx="134">
                  <c:v>60.229027673163813</c:v>
                </c:pt>
                <c:pt idx="135">
                  <c:v>63.734042347730359</c:v>
                </c:pt>
                <c:pt idx="136">
                  <c:v>68.312020698184625</c:v>
                </c:pt>
                <c:pt idx="137">
                  <c:v>71.244788078944367</c:v>
                </c:pt>
                <c:pt idx="138">
                  <c:v>75.465111870769391</c:v>
                </c:pt>
                <c:pt idx="139">
                  <c:v>87.267712305534275</c:v>
                </c:pt>
                <c:pt idx="140">
                  <c:v>104.29206929628604</c:v>
                </c:pt>
                <c:pt idx="141">
                  <c:v>117.38222614211618</c:v>
                </c:pt>
                <c:pt idx="142">
                  <c:v>137.26781960190186</c:v>
                </c:pt>
                <c:pt idx="143">
                  <c:v>155.5797330037189</c:v>
                </c:pt>
                <c:pt idx="144">
                  <c:v>169.17060623162999</c:v>
                </c:pt>
                <c:pt idx="145">
                  <c:v>177.96890837390924</c:v>
                </c:pt>
                <c:pt idx="146">
                  <c:v>190.27222519075505</c:v>
                </c:pt>
                <c:pt idx="147">
                  <c:v>210.01475682708906</c:v>
                </c:pt>
                <c:pt idx="148">
                  <c:v>228.89891752271282</c:v>
                </c:pt>
                <c:pt idx="149">
                  <c:v>234.62139046078067</c:v>
                </c:pt>
                <c:pt idx="150">
                  <c:v>247.13930001280406</c:v>
                </c:pt>
                <c:pt idx="151">
                  <c:v>268.74163535401004</c:v>
                </c:pt>
                <c:pt idx="152">
                  <c:v>277.39687567283767</c:v>
                </c:pt>
                <c:pt idx="153">
                  <c:v>298.57002554368859</c:v>
                </c:pt>
                <c:pt idx="154">
                  <c:v>334.62160505351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AF-41D6-8405-081FF68E574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42.632423388605268</c:v>
                </c:pt>
                <c:pt idx="123">
                  <c:v>44.277634358299771</c:v>
                </c:pt>
                <c:pt idx="124">
                  <c:v>45.922845327994267</c:v>
                </c:pt>
                <c:pt idx="125">
                  <c:v>47.639587209414614</c:v>
                </c:pt>
                <c:pt idx="126">
                  <c:v>49.427860002560813</c:v>
                </c:pt>
                <c:pt idx="127">
                  <c:v>51.287663707432849</c:v>
                </c:pt>
                <c:pt idx="128">
                  <c:v>53.290529235756587</c:v>
                </c:pt>
                <c:pt idx="129">
                  <c:v>55.293394764080318</c:v>
                </c:pt>
                <c:pt idx="130">
                  <c:v>57.367791204129915</c:v>
                </c:pt>
                <c:pt idx="131">
                  <c:v>59.585249467631186</c:v>
                </c:pt>
                <c:pt idx="132">
                  <c:v>61.802707731132472</c:v>
                </c:pt>
                <c:pt idx="133">
                  <c:v>64.091696906359601</c:v>
                </c:pt>
                <c:pt idx="134">
                  <c:v>66.523747905038434</c:v>
                </c:pt>
                <c:pt idx="135">
                  <c:v>68.955798903717252</c:v>
                </c:pt>
                <c:pt idx="136">
                  <c:v>71.530911725847773</c:v>
                </c:pt>
                <c:pt idx="137">
                  <c:v>74.177555459704138</c:v>
                </c:pt>
                <c:pt idx="138">
                  <c:v>76.895730105286347</c:v>
                </c:pt>
                <c:pt idx="139">
                  <c:v>79.756966574320259</c:v>
                </c:pt>
                <c:pt idx="140">
                  <c:v>82.689733955080015</c:v>
                </c:pt>
                <c:pt idx="141">
                  <c:v>85.69403224756563</c:v>
                </c:pt>
                <c:pt idx="142">
                  <c:v>88.841392363502919</c:v>
                </c:pt>
                <c:pt idx="143">
                  <c:v>92.060283391166067</c:v>
                </c:pt>
                <c:pt idx="144">
                  <c:v>95.350705330555073</c:v>
                </c:pt>
                <c:pt idx="145">
                  <c:v>98.784189093395767</c:v>
                </c:pt>
                <c:pt idx="146">
                  <c:v>102.36073467968815</c:v>
                </c:pt>
                <c:pt idx="147">
                  <c:v>106.08034208943224</c:v>
                </c:pt>
                <c:pt idx="148">
                  <c:v>109.87148041090218</c:v>
                </c:pt>
                <c:pt idx="149">
                  <c:v>113.80568055582378</c:v>
                </c:pt>
                <c:pt idx="150">
                  <c:v>117.88294252419712</c:v>
                </c:pt>
                <c:pt idx="151">
                  <c:v>122.10326631602213</c:v>
                </c:pt>
                <c:pt idx="152">
                  <c:v>126.46665193129884</c:v>
                </c:pt>
                <c:pt idx="153">
                  <c:v>130.97309937002726</c:v>
                </c:pt>
                <c:pt idx="154">
                  <c:v>135.62260863220737</c:v>
                </c:pt>
                <c:pt idx="155">
                  <c:v>140.41517971783915</c:v>
                </c:pt>
                <c:pt idx="156">
                  <c:v>145.35081262692268</c:v>
                </c:pt>
                <c:pt idx="157">
                  <c:v>150.50103827118372</c:v>
                </c:pt>
                <c:pt idx="158">
                  <c:v>155.79432573889642</c:v>
                </c:pt>
                <c:pt idx="159">
                  <c:v>161.23067503006087</c:v>
                </c:pt>
                <c:pt idx="160">
                  <c:v>166.88161705640283</c:v>
                </c:pt>
                <c:pt idx="161">
                  <c:v>172.74715181792237</c:v>
                </c:pt>
                <c:pt idx="162">
                  <c:v>178.8272793146194</c:v>
                </c:pt>
                <c:pt idx="163">
                  <c:v>185.12199954649401</c:v>
                </c:pt>
                <c:pt idx="164">
                  <c:v>191.5597816018203</c:v>
                </c:pt>
                <c:pt idx="165">
                  <c:v>198.28368730405001</c:v>
                </c:pt>
                <c:pt idx="166">
                  <c:v>205.22218574145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AF-41D6-8405-081FF68E574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42.847016123782815</c:v>
                </c:pt>
                <c:pt idx="123">
                  <c:v>44.849881652106546</c:v>
                </c:pt>
                <c:pt idx="124">
                  <c:v>47.067339915607832</c:v>
                </c:pt>
                <c:pt idx="125">
                  <c:v>49.356329090834961</c:v>
                </c:pt>
                <c:pt idx="126">
                  <c:v>51.859911001239631</c:v>
                </c:pt>
                <c:pt idx="127">
                  <c:v>54.578085646821847</c:v>
                </c:pt>
                <c:pt idx="128">
                  <c:v>57.582383939307455</c:v>
                </c:pt>
                <c:pt idx="129">
                  <c:v>60.658213143518907</c:v>
                </c:pt>
                <c:pt idx="130">
                  <c:v>63.805573259456203</c:v>
                </c:pt>
                <c:pt idx="131">
                  <c:v>67.024464287119358</c:v>
                </c:pt>
                <c:pt idx="132">
                  <c:v>70.529478961685896</c:v>
                </c:pt>
                <c:pt idx="133">
                  <c:v>74.249086371429982</c:v>
                </c:pt>
                <c:pt idx="134">
                  <c:v>78.183286516351615</c:v>
                </c:pt>
                <c:pt idx="135">
                  <c:v>82.260548484724922</c:v>
                </c:pt>
                <c:pt idx="136">
                  <c:v>86.480872276549945</c:v>
                </c:pt>
                <c:pt idx="137">
                  <c:v>90.915788803552502</c:v>
                </c:pt>
                <c:pt idx="138">
                  <c:v>95.636828977458464</c:v>
                </c:pt>
                <c:pt idx="139">
                  <c:v>100.57246188654196</c:v>
                </c:pt>
                <c:pt idx="140">
                  <c:v>105.72268753080299</c:v>
                </c:pt>
                <c:pt idx="141">
                  <c:v>111.08750591024157</c:v>
                </c:pt>
                <c:pt idx="142">
                  <c:v>116.73844793658355</c:v>
                </c:pt>
                <c:pt idx="143">
                  <c:v>122.67551360982893</c:v>
                </c:pt>
                <c:pt idx="144">
                  <c:v>128.89870292997767</c:v>
                </c:pt>
                <c:pt idx="145">
                  <c:v>135.40801589702983</c:v>
                </c:pt>
                <c:pt idx="146">
                  <c:v>142.27498342271122</c:v>
                </c:pt>
                <c:pt idx="147">
                  <c:v>149.49960550702184</c:v>
                </c:pt>
                <c:pt idx="148">
                  <c:v>157.0818821499617</c:v>
                </c:pt>
                <c:pt idx="149">
                  <c:v>165.0218133515308</c:v>
                </c:pt>
                <c:pt idx="150">
                  <c:v>173.31939911172913</c:v>
                </c:pt>
                <c:pt idx="151">
                  <c:v>182.04617034228255</c:v>
                </c:pt>
                <c:pt idx="152">
                  <c:v>191.2021270431911</c:v>
                </c:pt>
                <c:pt idx="153">
                  <c:v>200.85880012618054</c:v>
                </c:pt>
                <c:pt idx="154">
                  <c:v>210.94465867952505</c:v>
                </c:pt>
                <c:pt idx="155">
                  <c:v>221.53123361495054</c:v>
                </c:pt>
                <c:pt idx="156">
                  <c:v>232.61852493245695</c:v>
                </c:pt>
                <c:pt idx="157">
                  <c:v>244.27806354377009</c:v>
                </c:pt>
                <c:pt idx="158">
                  <c:v>256.50984944889007</c:v>
                </c:pt>
                <c:pt idx="159">
                  <c:v>269.38541355954266</c:v>
                </c:pt>
                <c:pt idx="160">
                  <c:v>282.76169405227625</c:v>
                </c:pt>
                <c:pt idx="161">
                  <c:v>296.85328366226827</c:v>
                </c:pt>
                <c:pt idx="162">
                  <c:v>311.6601823895187</c:v>
                </c:pt>
                <c:pt idx="163">
                  <c:v>327.18239023402771</c:v>
                </c:pt>
                <c:pt idx="164">
                  <c:v>343.49143810752099</c:v>
                </c:pt>
                <c:pt idx="165">
                  <c:v>360.58732600999855</c:v>
                </c:pt>
                <c:pt idx="166">
                  <c:v>378.47005394146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AF-41D6-8405-081FF68E574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43.133139770686206</c:v>
                </c:pt>
                <c:pt idx="123">
                  <c:v>45.565190769365032</c:v>
                </c:pt>
                <c:pt idx="124">
                  <c:v>48.21183450322139</c:v>
                </c:pt>
                <c:pt idx="125">
                  <c:v>51.073070972255302</c:v>
                </c:pt>
                <c:pt idx="126">
                  <c:v>54.291961999918456</c:v>
                </c:pt>
                <c:pt idx="127">
                  <c:v>57.940038497936698</c:v>
                </c:pt>
                <c:pt idx="128">
                  <c:v>62.088831378035856</c:v>
                </c:pt>
                <c:pt idx="129">
                  <c:v>66.237624258135028</c:v>
                </c:pt>
                <c:pt idx="130">
                  <c:v>70.529478961685896</c:v>
                </c:pt>
                <c:pt idx="131">
                  <c:v>75.107457312140156</c:v>
                </c:pt>
                <c:pt idx="132">
                  <c:v>80.04309022122365</c:v>
                </c:pt>
                <c:pt idx="133">
                  <c:v>85.407908600662225</c:v>
                </c:pt>
                <c:pt idx="134">
                  <c:v>91.130381538730063</c:v>
                </c:pt>
                <c:pt idx="135">
                  <c:v>97.138978123701264</c:v>
                </c:pt>
                <c:pt idx="136">
                  <c:v>103.43369835557586</c:v>
                </c:pt>
                <c:pt idx="137">
                  <c:v>110.0860731460797</c:v>
                </c:pt>
                <c:pt idx="138">
                  <c:v>117.31069523039034</c:v>
                </c:pt>
                <c:pt idx="139">
                  <c:v>125.0360336967819</c:v>
                </c:pt>
                <c:pt idx="140">
                  <c:v>133.19055763352856</c:v>
                </c:pt>
                <c:pt idx="141">
                  <c:v>141.84579795235612</c:v>
                </c:pt>
                <c:pt idx="142">
                  <c:v>151.00175465326464</c:v>
                </c:pt>
                <c:pt idx="143">
                  <c:v>160.72995864797994</c:v>
                </c:pt>
                <c:pt idx="144">
                  <c:v>171.17347175995371</c:v>
                </c:pt>
                <c:pt idx="145">
                  <c:v>182.26076307746013</c:v>
                </c:pt>
                <c:pt idx="146">
                  <c:v>194.06336351222498</c:v>
                </c:pt>
                <c:pt idx="147">
                  <c:v>206.58127306424834</c:v>
                </c:pt>
                <c:pt idx="148">
                  <c:v>219.88602264525602</c:v>
                </c:pt>
                <c:pt idx="149">
                  <c:v>234.12067407869975</c:v>
                </c:pt>
                <c:pt idx="150">
                  <c:v>249.28522736457947</c:v>
                </c:pt>
                <c:pt idx="151">
                  <c:v>265.37968250289521</c:v>
                </c:pt>
                <c:pt idx="152">
                  <c:v>282.47557040537282</c:v>
                </c:pt>
                <c:pt idx="153">
                  <c:v>300.64442198373814</c:v>
                </c:pt>
                <c:pt idx="154">
                  <c:v>319.95776814971708</c:v>
                </c:pt>
                <c:pt idx="155">
                  <c:v>340.48713981503539</c:v>
                </c:pt>
                <c:pt idx="156">
                  <c:v>362.30406789141892</c:v>
                </c:pt>
                <c:pt idx="157">
                  <c:v>385.48008329059365</c:v>
                </c:pt>
                <c:pt idx="158">
                  <c:v>410.15824783601107</c:v>
                </c:pt>
                <c:pt idx="159">
                  <c:v>436.4100924393972</c:v>
                </c:pt>
                <c:pt idx="160">
                  <c:v>464.30714801247791</c:v>
                </c:pt>
                <c:pt idx="161">
                  <c:v>493.99247637870468</c:v>
                </c:pt>
                <c:pt idx="162">
                  <c:v>525.53760844980354</c:v>
                </c:pt>
                <c:pt idx="163">
                  <c:v>559.15713696095202</c:v>
                </c:pt>
                <c:pt idx="164">
                  <c:v>594.9225928238759</c:v>
                </c:pt>
                <c:pt idx="165">
                  <c:v>632.90550695030106</c:v>
                </c:pt>
                <c:pt idx="166">
                  <c:v>673.32047207540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AF-41D6-8405-081FF68E574F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43.133139770686206</c:v>
                </c:pt>
                <c:pt idx="123">
                  <c:v>45.565190769365032</c:v>
                </c:pt>
                <c:pt idx="124">
                  <c:v>48.21183450322139</c:v>
                </c:pt>
                <c:pt idx="125">
                  <c:v>51.073070972255302</c:v>
                </c:pt>
                <c:pt idx="126">
                  <c:v>54.291961999918456</c:v>
                </c:pt>
                <c:pt idx="127">
                  <c:v>57.940038497936698</c:v>
                </c:pt>
                <c:pt idx="128">
                  <c:v>62.088831378035856</c:v>
                </c:pt>
                <c:pt idx="129">
                  <c:v>66.237624258135028</c:v>
                </c:pt>
                <c:pt idx="130">
                  <c:v>70.529478961685896</c:v>
                </c:pt>
                <c:pt idx="131">
                  <c:v>75.107457312140156</c:v>
                </c:pt>
                <c:pt idx="132">
                  <c:v>80.04309022122365</c:v>
                </c:pt>
                <c:pt idx="133">
                  <c:v>86.337810453098257</c:v>
                </c:pt>
                <c:pt idx="134">
                  <c:v>93.633963449134725</c:v>
                </c:pt>
                <c:pt idx="135">
                  <c:v>101.64542556242966</c:v>
                </c:pt>
                <c:pt idx="136">
                  <c:v>110.2291349695314</c:v>
                </c:pt>
                <c:pt idx="137">
                  <c:v>119.814277140795</c:v>
                </c:pt>
                <c:pt idx="138">
                  <c:v>130.83003754657557</c:v>
                </c:pt>
                <c:pt idx="139">
                  <c:v>143.34794709859892</c:v>
                </c:pt>
                <c:pt idx="140">
                  <c:v>156.50963485615492</c:v>
                </c:pt>
                <c:pt idx="141">
                  <c:v>170.52969355442107</c:v>
                </c:pt>
                <c:pt idx="142">
                  <c:v>185.76577775202665</c:v>
                </c:pt>
                <c:pt idx="143">
                  <c:v>202.64707291932672</c:v>
                </c:pt>
                <c:pt idx="144">
                  <c:v>221.31664087977299</c:v>
                </c:pt>
                <c:pt idx="145">
                  <c:v>241.63141980991375</c:v>
                </c:pt>
                <c:pt idx="146">
                  <c:v>263.66294062147489</c:v>
                </c:pt>
                <c:pt idx="147">
                  <c:v>287.41120331445632</c:v>
                </c:pt>
                <c:pt idx="148">
                  <c:v>313.37692427093907</c:v>
                </c:pt>
                <c:pt idx="149">
                  <c:v>341.84622713782647</c:v>
                </c:pt>
                <c:pt idx="150">
                  <c:v>373.0337046502961</c:v>
                </c:pt>
                <c:pt idx="151">
                  <c:v>406.93935680834795</c:v>
                </c:pt>
                <c:pt idx="152">
                  <c:v>443.77777634715954</c:v>
                </c:pt>
                <c:pt idx="153">
                  <c:v>483.90661782536017</c:v>
                </c:pt>
                <c:pt idx="154">
                  <c:v>521.96106286351119</c:v>
                </c:pt>
                <c:pt idx="155">
                  <c:v>560.23010063683967</c:v>
                </c:pt>
                <c:pt idx="156">
                  <c:v>600.14434937986277</c:v>
                </c:pt>
                <c:pt idx="157">
                  <c:v>642.56218003329047</c:v>
                </c:pt>
                <c:pt idx="158">
                  <c:v>686.1245052743318</c:v>
                </c:pt>
                <c:pt idx="159">
                  <c:v>730.0444850740023</c:v>
                </c:pt>
                <c:pt idx="160">
                  <c:v>773.9644648736728</c:v>
                </c:pt>
                <c:pt idx="161">
                  <c:v>823.32079396450786</c:v>
                </c:pt>
                <c:pt idx="162">
                  <c:v>877.25510140579695</c:v>
                </c:pt>
                <c:pt idx="163">
                  <c:v>934.69442352165277</c:v>
                </c:pt>
                <c:pt idx="164">
                  <c:v>994.35120390100985</c:v>
                </c:pt>
                <c:pt idx="165">
                  <c:v>1056.8692207494007</c:v>
                </c:pt>
                <c:pt idx="166">
                  <c:v>1123.3929686544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4AF-41D6-8405-081FF68E5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98</c:v>
                </c:pt>
                <c:pt idx="1">
                  <c:v>49</c:v>
                </c:pt>
                <c:pt idx="2">
                  <c:v>152</c:v>
                </c:pt>
                <c:pt idx="3">
                  <c:v>255</c:v>
                </c:pt>
                <c:pt idx="4">
                  <c:v>177</c:v>
                </c:pt>
                <c:pt idx="5">
                  <c:v>158</c:v>
                </c:pt>
                <c:pt idx="6">
                  <c:v>157</c:v>
                </c:pt>
                <c:pt idx="7">
                  <c:v>32</c:v>
                </c:pt>
                <c:pt idx="8">
                  <c:v>6</c:v>
                </c:pt>
                <c:pt idx="9">
                  <c:v>142</c:v>
                </c:pt>
                <c:pt idx="10">
                  <c:v>171</c:v>
                </c:pt>
                <c:pt idx="11">
                  <c:v>97</c:v>
                </c:pt>
                <c:pt idx="12">
                  <c:v>102</c:v>
                </c:pt>
                <c:pt idx="13">
                  <c:v>77</c:v>
                </c:pt>
                <c:pt idx="14">
                  <c:v>39</c:v>
                </c:pt>
                <c:pt idx="15">
                  <c:v>4</c:v>
                </c:pt>
                <c:pt idx="16">
                  <c:v>95</c:v>
                </c:pt>
                <c:pt idx="17">
                  <c:v>78</c:v>
                </c:pt>
                <c:pt idx="18">
                  <c:v>66</c:v>
                </c:pt>
                <c:pt idx="19">
                  <c:v>45</c:v>
                </c:pt>
                <c:pt idx="20">
                  <c:v>67</c:v>
                </c:pt>
                <c:pt idx="21">
                  <c:v>25</c:v>
                </c:pt>
                <c:pt idx="22">
                  <c:v>6</c:v>
                </c:pt>
                <c:pt idx="23">
                  <c:v>35</c:v>
                </c:pt>
                <c:pt idx="24">
                  <c:v>68</c:v>
                </c:pt>
                <c:pt idx="25">
                  <c:v>36</c:v>
                </c:pt>
                <c:pt idx="26">
                  <c:v>45</c:v>
                </c:pt>
                <c:pt idx="27">
                  <c:v>61</c:v>
                </c:pt>
                <c:pt idx="28">
                  <c:v>9</c:v>
                </c:pt>
                <c:pt idx="29">
                  <c:v>6</c:v>
                </c:pt>
                <c:pt idx="30">
                  <c:v>36</c:v>
                </c:pt>
                <c:pt idx="31">
                  <c:v>33</c:v>
                </c:pt>
                <c:pt idx="32">
                  <c:v>34</c:v>
                </c:pt>
                <c:pt idx="33">
                  <c:v>81</c:v>
                </c:pt>
                <c:pt idx="34">
                  <c:v>32</c:v>
                </c:pt>
                <c:pt idx="35">
                  <c:v>17</c:v>
                </c:pt>
                <c:pt idx="36">
                  <c:v>2</c:v>
                </c:pt>
                <c:pt idx="37">
                  <c:v>21</c:v>
                </c:pt>
                <c:pt idx="38">
                  <c:v>59</c:v>
                </c:pt>
                <c:pt idx="39">
                  <c:v>30</c:v>
                </c:pt>
                <c:pt idx="40">
                  <c:v>21</c:v>
                </c:pt>
                <c:pt idx="41">
                  <c:v>30</c:v>
                </c:pt>
                <c:pt idx="42">
                  <c:v>6</c:v>
                </c:pt>
                <c:pt idx="43">
                  <c:v>0</c:v>
                </c:pt>
                <c:pt idx="44">
                  <c:v>17</c:v>
                </c:pt>
                <c:pt idx="45">
                  <c:v>25</c:v>
                </c:pt>
                <c:pt idx="46">
                  <c:v>14</c:v>
                </c:pt>
                <c:pt idx="47">
                  <c:v>18</c:v>
                </c:pt>
                <c:pt idx="48">
                  <c:v>6</c:v>
                </c:pt>
                <c:pt idx="49">
                  <c:v>4</c:v>
                </c:pt>
                <c:pt idx="50">
                  <c:v>1</c:v>
                </c:pt>
                <c:pt idx="51">
                  <c:v>5</c:v>
                </c:pt>
                <c:pt idx="52">
                  <c:v>8</c:v>
                </c:pt>
                <c:pt idx="53">
                  <c:v>4</c:v>
                </c:pt>
                <c:pt idx="54">
                  <c:v>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3</c:v>
                </c:pt>
                <c:pt idx="59">
                  <c:v>4</c:v>
                </c:pt>
                <c:pt idx="60">
                  <c:v>2</c:v>
                </c:pt>
                <c:pt idx="61">
                  <c:v>6</c:v>
                </c:pt>
                <c:pt idx="62">
                  <c:v>4</c:v>
                </c:pt>
                <c:pt idx="63">
                  <c:v>3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4</c:v>
                </c:pt>
                <c:pt idx="68">
                  <c:v>6</c:v>
                </c:pt>
                <c:pt idx="69">
                  <c:v>9</c:v>
                </c:pt>
                <c:pt idx="70">
                  <c:v>4</c:v>
                </c:pt>
                <c:pt idx="71">
                  <c:v>0</c:v>
                </c:pt>
                <c:pt idx="72">
                  <c:v>9</c:v>
                </c:pt>
                <c:pt idx="73">
                  <c:v>12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4</c:v>
                </c:pt>
                <c:pt idx="78">
                  <c:v>1</c:v>
                </c:pt>
                <c:pt idx="79">
                  <c:v>11</c:v>
                </c:pt>
                <c:pt idx="80">
                  <c:v>6</c:v>
                </c:pt>
                <c:pt idx="81">
                  <c:v>12</c:v>
                </c:pt>
                <c:pt idx="82">
                  <c:v>10</c:v>
                </c:pt>
                <c:pt idx="83">
                  <c:v>8</c:v>
                </c:pt>
                <c:pt idx="84">
                  <c:v>2</c:v>
                </c:pt>
                <c:pt idx="85">
                  <c:v>2</c:v>
                </c:pt>
                <c:pt idx="86">
                  <c:v>6</c:v>
                </c:pt>
                <c:pt idx="87">
                  <c:v>19</c:v>
                </c:pt>
                <c:pt idx="88">
                  <c:v>11</c:v>
                </c:pt>
                <c:pt idx="89">
                  <c:v>10</c:v>
                </c:pt>
                <c:pt idx="90">
                  <c:v>7</c:v>
                </c:pt>
                <c:pt idx="91">
                  <c:v>1</c:v>
                </c:pt>
                <c:pt idx="92">
                  <c:v>1</c:v>
                </c:pt>
                <c:pt idx="93">
                  <c:v>9</c:v>
                </c:pt>
                <c:pt idx="94">
                  <c:v>11</c:v>
                </c:pt>
                <c:pt idx="95">
                  <c:v>15</c:v>
                </c:pt>
                <c:pt idx="96">
                  <c:v>20</c:v>
                </c:pt>
                <c:pt idx="97">
                  <c:v>13</c:v>
                </c:pt>
                <c:pt idx="98">
                  <c:v>5</c:v>
                </c:pt>
                <c:pt idx="99">
                  <c:v>3</c:v>
                </c:pt>
                <c:pt idx="100">
                  <c:v>13</c:v>
                </c:pt>
                <c:pt idx="101">
                  <c:v>24</c:v>
                </c:pt>
                <c:pt idx="102">
                  <c:v>21</c:v>
                </c:pt>
                <c:pt idx="103">
                  <c:v>15</c:v>
                </c:pt>
                <c:pt idx="104">
                  <c:v>14</c:v>
                </c:pt>
                <c:pt idx="105">
                  <c:v>11</c:v>
                </c:pt>
                <c:pt idx="106">
                  <c:v>2</c:v>
                </c:pt>
                <c:pt idx="107">
                  <c:v>15</c:v>
                </c:pt>
                <c:pt idx="108">
                  <c:v>35</c:v>
                </c:pt>
                <c:pt idx="109">
                  <c:v>21</c:v>
                </c:pt>
                <c:pt idx="110">
                  <c:v>15</c:v>
                </c:pt>
                <c:pt idx="111">
                  <c:v>16</c:v>
                </c:pt>
                <c:pt idx="112">
                  <c:v>6</c:v>
                </c:pt>
                <c:pt idx="113">
                  <c:v>6</c:v>
                </c:pt>
                <c:pt idx="114">
                  <c:v>15</c:v>
                </c:pt>
                <c:pt idx="115">
                  <c:v>24</c:v>
                </c:pt>
                <c:pt idx="116">
                  <c:v>13</c:v>
                </c:pt>
                <c:pt idx="117">
                  <c:v>16</c:v>
                </c:pt>
                <c:pt idx="118">
                  <c:v>13</c:v>
                </c:pt>
                <c:pt idx="119">
                  <c:v>5</c:v>
                </c:pt>
                <c:pt idx="120">
                  <c:v>5</c:v>
                </c:pt>
                <c:pt idx="121">
                  <c:v>22</c:v>
                </c:pt>
                <c:pt idx="122">
                  <c:v>33</c:v>
                </c:pt>
                <c:pt idx="123">
                  <c:v>21</c:v>
                </c:pt>
                <c:pt idx="124">
                  <c:v>26</c:v>
                </c:pt>
                <c:pt idx="125">
                  <c:v>20</c:v>
                </c:pt>
                <c:pt idx="126">
                  <c:v>14</c:v>
                </c:pt>
                <c:pt idx="127">
                  <c:v>12</c:v>
                </c:pt>
                <c:pt idx="128">
                  <c:v>14</c:v>
                </c:pt>
                <c:pt idx="129">
                  <c:v>49</c:v>
                </c:pt>
                <c:pt idx="130">
                  <c:v>24</c:v>
                </c:pt>
                <c:pt idx="131">
                  <c:v>23</c:v>
                </c:pt>
                <c:pt idx="132">
                  <c:v>30</c:v>
                </c:pt>
                <c:pt idx="133">
                  <c:v>11</c:v>
                </c:pt>
                <c:pt idx="134">
                  <c:v>6</c:v>
                </c:pt>
                <c:pt idx="135">
                  <c:v>23</c:v>
                </c:pt>
                <c:pt idx="136">
                  <c:v>36</c:v>
                </c:pt>
                <c:pt idx="137">
                  <c:v>20</c:v>
                </c:pt>
                <c:pt idx="138">
                  <c:v>33</c:v>
                </c:pt>
                <c:pt idx="139">
                  <c:v>28</c:v>
                </c:pt>
                <c:pt idx="140">
                  <c:v>8</c:v>
                </c:pt>
                <c:pt idx="141">
                  <c:v>8</c:v>
                </c:pt>
                <c:pt idx="142">
                  <c:v>29</c:v>
                </c:pt>
                <c:pt idx="143">
                  <c:v>37</c:v>
                </c:pt>
                <c:pt idx="144">
                  <c:v>34</c:v>
                </c:pt>
                <c:pt idx="145">
                  <c:v>27</c:v>
                </c:pt>
                <c:pt idx="146">
                  <c:v>34</c:v>
                </c:pt>
                <c:pt idx="147">
                  <c:v>33</c:v>
                </c:pt>
                <c:pt idx="148">
                  <c:v>13</c:v>
                </c:pt>
                <c:pt idx="149">
                  <c:v>58</c:v>
                </c:pt>
                <c:pt idx="150">
                  <c:v>18</c:v>
                </c:pt>
                <c:pt idx="151">
                  <c:v>51</c:v>
                </c:pt>
                <c:pt idx="152">
                  <c:v>69</c:v>
                </c:pt>
                <c:pt idx="153">
                  <c:v>80</c:v>
                </c:pt>
                <c:pt idx="154">
                  <c:v>39</c:v>
                </c:pt>
                <c:pt idx="155">
                  <c:v>17</c:v>
                </c:pt>
                <c:pt idx="156">
                  <c:v>60</c:v>
                </c:pt>
                <c:pt idx="157">
                  <c:v>120</c:v>
                </c:pt>
                <c:pt idx="158">
                  <c:v>76</c:v>
                </c:pt>
                <c:pt idx="159">
                  <c:v>99</c:v>
                </c:pt>
                <c:pt idx="160">
                  <c:v>102</c:v>
                </c:pt>
                <c:pt idx="161">
                  <c:v>18</c:v>
                </c:pt>
                <c:pt idx="162">
                  <c:v>18</c:v>
                </c:pt>
                <c:pt idx="163">
                  <c:v>123</c:v>
                </c:pt>
                <c:pt idx="164">
                  <c:v>177</c:v>
                </c:pt>
                <c:pt idx="165">
                  <c:v>178</c:v>
                </c:pt>
                <c:pt idx="166">
                  <c:v>122</c:v>
                </c:pt>
                <c:pt idx="167">
                  <c:v>183</c:v>
                </c:pt>
                <c:pt idx="168">
                  <c:v>80</c:v>
                </c:pt>
                <c:pt idx="169">
                  <c:v>44</c:v>
                </c:pt>
                <c:pt idx="170">
                  <c:v>185</c:v>
                </c:pt>
                <c:pt idx="171">
                  <c:v>281</c:v>
                </c:pt>
                <c:pt idx="172">
                  <c:v>342</c:v>
                </c:pt>
                <c:pt idx="173">
                  <c:v>292</c:v>
                </c:pt>
                <c:pt idx="174">
                  <c:v>413</c:v>
                </c:pt>
                <c:pt idx="175">
                  <c:v>153</c:v>
                </c:pt>
                <c:pt idx="176">
                  <c:v>47</c:v>
                </c:pt>
                <c:pt idx="177">
                  <c:v>302</c:v>
                </c:pt>
                <c:pt idx="178">
                  <c:v>548</c:v>
                </c:pt>
                <c:pt idx="179">
                  <c:v>555</c:v>
                </c:pt>
                <c:pt idx="180">
                  <c:v>163</c:v>
                </c:pt>
                <c:pt idx="181">
                  <c:v>448</c:v>
                </c:pt>
                <c:pt idx="182">
                  <c:v>285</c:v>
                </c:pt>
                <c:pt idx="183">
                  <c:v>113</c:v>
                </c:pt>
                <c:pt idx="184">
                  <c:v>536</c:v>
                </c:pt>
                <c:pt idx="185">
                  <c:v>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493-4C53-BEF6-F74E1133C6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55</c:v>
                </c:pt>
                <c:pt idx="154">
                  <c:v>57</c:v>
                </c:pt>
                <c:pt idx="155">
                  <c:v>60</c:v>
                </c:pt>
                <c:pt idx="156">
                  <c:v>62</c:v>
                </c:pt>
                <c:pt idx="157">
                  <c:v>64</c:v>
                </c:pt>
                <c:pt idx="158">
                  <c:v>67</c:v>
                </c:pt>
                <c:pt idx="159">
                  <c:v>69</c:v>
                </c:pt>
                <c:pt idx="160">
                  <c:v>72</c:v>
                </c:pt>
                <c:pt idx="161">
                  <c:v>74</c:v>
                </c:pt>
                <c:pt idx="162">
                  <c:v>77</c:v>
                </c:pt>
                <c:pt idx="163">
                  <c:v>80</c:v>
                </c:pt>
                <c:pt idx="164">
                  <c:v>83</c:v>
                </c:pt>
                <c:pt idx="165">
                  <c:v>86</c:v>
                </c:pt>
                <c:pt idx="166">
                  <c:v>89</c:v>
                </c:pt>
                <c:pt idx="167">
                  <c:v>93</c:v>
                </c:pt>
                <c:pt idx="168">
                  <c:v>96</c:v>
                </c:pt>
                <c:pt idx="169">
                  <c:v>99</c:v>
                </c:pt>
                <c:pt idx="170">
                  <c:v>103</c:v>
                </c:pt>
                <c:pt idx="171">
                  <c:v>107</c:v>
                </c:pt>
                <c:pt idx="172">
                  <c:v>111</c:v>
                </c:pt>
                <c:pt idx="173">
                  <c:v>115</c:v>
                </c:pt>
                <c:pt idx="174">
                  <c:v>119</c:v>
                </c:pt>
                <c:pt idx="175">
                  <c:v>123</c:v>
                </c:pt>
                <c:pt idx="176">
                  <c:v>127</c:v>
                </c:pt>
                <c:pt idx="177">
                  <c:v>132</c:v>
                </c:pt>
                <c:pt idx="178">
                  <c:v>137</c:v>
                </c:pt>
                <c:pt idx="179">
                  <c:v>142</c:v>
                </c:pt>
                <c:pt idx="180">
                  <c:v>147</c:v>
                </c:pt>
                <c:pt idx="181">
                  <c:v>152</c:v>
                </c:pt>
                <c:pt idx="182">
                  <c:v>157</c:v>
                </c:pt>
                <c:pt idx="183">
                  <c:v>163</c:v>
                </c:pt>
                <c:pt idx="184">
                  <c:v>169</c:v>
                </c:pt>
                <c:pt idx="185">
                  <c:v>175</c:v>
                </c:pt>
                <c:pt idx="186">
                  <c:v>181</c:v>
                </c:pt>
                <c:pt idx="187">
                  <c:v>187</c:v>
                </c:pt>
                <c:pt idx="188">
                  <c:v>194</c:v>
                </c:pt>
                <c:pt idx="189">
                  <c:v>200</c:v>
                </c:pt>
                <c:pt idx="190">
                  <c:v>208</c:v>
                </c:pt>
                <c:pt idx="191">
                  <c:v>215</c:v>
                </c:pt>
                <c:pt idx="192">
                  <c:v>222</c:v>
                </c:pt>
                <c:pt idx="193">
                  <c:v>230</c:v>
                </c:pt>
                <c:pt idx="194">
                  <c:v>238</c:v>
                </c:pt>
                <c:pt idx="195">
                  <c:v>246</c:v>
                </c:pt>
                <c:pt idx="196">
                  <c:v>255</c:v>
                </c:pt>
                <c:pt idx="197">
                  <c:v>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93-4C53-BEF6-F74E1133C63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57</c:v>
                </c:pt>
                <c:pt idx="154">
                  <c:v>61</c:v>
                </c:pt>
                <c:pt idx="155">
                  <c:v>64</c:v>
                </c:pt>
                <c:pt idx="156">
                  <c:v>66</c:v>
                </c:pt>
                <c:pt idx="157">
                  <c:v>70</c:v>
                </c:pt>
                <c:pt idx="158">
                  <c:v>74</c:v>
                </c:pt>
                <c:pt idx="159">
                  <c:v>78</c:v>
                </c:pt>
                <c:pt idx="160">
                  <c:v>82</c:v>
                </c:pt>
                <c:pt idx="161">
                  <c:v>86</c:v>
                </c:pt>
                <c:pt idx="162">
                  <c:v>90</c:v>
                </c:pt>
                <c:pt idx="163">
                  <c:v>95</c:v>
                </c:pt>
                <c:pt idx="164">
                  <c:v>100</c:v>
                </c:pt>
                <c:pt idx="165">
                  <c:v>105</c:v>
                </c:pt>
                <c:pt idx="166">
                  <c:v>111</c:v>
                </c:pt>
                <c:pt idx="167">
                  <c:v>116</c:v>
                </c:pt>
                <c:pt idx="168">
                  <c:v>122</c:v>
                </c:pt>
                <c:pt idx="169">
                  <c:v>128</c:v>
                </c:pt>
                <c:pt idx="170">
                  <c:v>135</c:v>
                </c:pt>
                <c:pt idx="171">
                  <c:v>142</c:v>
                </c:pt>
                <c:pt idx="172">
                  <c:v>149</c:v>
                </c:pt>
                <c:pt idx="173">
                  <c:v>157</c:v>
                </c:pt>
                <c:pt idx="174">
                  <c:v>165</c:v>
                </c:pt>
                <c:pt idx="175">
                  <c:v>173</c:v>
                </c:pt>
                <c:pt idx="176">
                  <c:v>182</c:v>
                </c:pt>
                <c:pt idx="177">
                  <c:v>191</c:v>
                </c:pt>
                <c:pt idx="178">
                  <c:v>201</c:v>
                </c:pt>
                <c:pt idx="179">
                  <c:v>211</c:v>
                </c:pt>
                <c:pt idx="180">
                  <c:v>222</c:v>
                </c:pt>
                <c:pt idx="181">
                  <c:v>233</c:v>
                </c:pt>
                <c:pt idx="182">
                  <c:v>244</c:v>
                </c:pt>
                <c:pt idx="183">
                  <c:v>257</c:v>
                </c:pt>
                <c:pt idx="184">
                  <c:v>269</c:v>
                </c:pt>
                <c:pt idx="185">
                  <c:v>283</c:v>
                </c:pt>
                <c:pt idx="186">
                  <c:v>297</c:v>
                </c:pt>
                <c:pt idx="187">
                  <c:v>312</c:v>
                </c:pt>
                <c:pt idx="188">
                  <c:v>327</c:v>
                </c:pt>
                <c:pt idx="189">
                  <c:v>344</c:v>
                </c:pt>
                <c:pt idx="190">
                  <c:v>361</c:v>
                </c:pt>
                <c:pt idx="191">
                  <c:v>379</c:v>
                </c:pt>
                <c:pt idx="192">
                  <c:v>398</c:v>
                </c:pt>
                <c:pt idx="193">
                  <c:v>417</c:v>
                </c:pt>
                <c:pt idx="194">
                  <c:v>438</c:v>
                </c:pt>
                <c:pt idx="195">
                  <c:v>460</c:v>
                </c:pt>
                <c:pt idx="196">
                  <c:v>483</c:v>
                </c:pt>
                <c:pt idx="197">
                  <c:v>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493-4C53-BEF6-F74E1133C63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59</c:v>
                </c:pt>
                <c:pt idx="154">
                  <c:v>64</c:v>
                </c:pt>
                <c:pt idx="155">
                  <c:v>68</c:v>
                </c:pt>
                <c:pt idx="156">
                  <c:v>71</c:v>
                </c:pt>
                <c:pt idx="157">
                  <c:v>75</c:v>
                </c:pt>
                <c:pt idx="158">
                  <c:v>81</c:v>
                </c:pt>
                <c:pt idx="159">
                  <c:v>87</c:v>
                </c:pt>
                <c:pt idx="160">
                  <c:v>93</c:v>
                </c:pt>
                <c:pt idx="161">
                  <c:v>99</c:v>
                </c:pt>
                <c:pt idx="162">
                  <c:v>105</c:v>
                </c:pt>
                <c:pt idx="163">
                  <c:v>111</c:v>
                </c:pt>
                <c:pt idx="164">
                  <c:v>119</c:v>
                </c:pt>
                <c:pt idx="165">
                  <c:v>127</c:v>
                </c:pt>
                <c:pt idx="166">
                  <c:v>136</c:v>
                </c:pt>
                <c:pt idx="167">
                  <c:v>144</c:v>
                </c:pt>
                <c:pt idx="168">
                  <c:v>153</c:v>
                </c:pt>
                <c:pt idx="169">
                  <c:v>163</c:v>
                </c:pt>
                <c:pt idx="170">
                  <c:v>174</c:v>
                </c:pt>
                <c:pt idx="171">
                  <c:v>186</c:v>
                </c:pt>
                <c:pt idx="172">
                  <c:v>198</c:v>
                </c:pt>
                <c:pt idx="173">
                  <c:v>210</c:v>
                </c:pt>
                <c:pt idx="174">
                  <c:v>224</c:v>
                </c:pt>
                <c:pt idx="175">
                  <c:v>238</c:v>
                </c:pt>
                <c:pt idx="176">
                  <c:v>254</c:v>
                </c:pt>
                <c:pt idx="177">
                  <c:v>270</c:v>
                </c:pt>
                <c:pt idx="178">
                  <c:v>288</c:v>
                </c:pt>
                <c:pt idx="179">
                  <c:v>306</c:v>
                </c:pt>
                <c:pt idx="180">
                  <c:v>326</c:v>
                </c:pt>
                <c:pt idx="181">
                  <c:v>347</c:v>
                </c:pt>
                <c:pt idx="182">
                  <c:v>369</c:v>
                </c:pt>
                <c:pt idx="183">
                  <c:v>393</c:v>
                </c:pt>
                <c:pt idx="184">
                  <c:v>418</c:v>
                </c:pt>
                <c:pt idx="185">
                  <c:v>445</c:v>
                </c:pt>
                <c:pt idx="186">
                  <c:v>473</c:v>
                </c:pt>
                <c:pt idx="187">
                  <c:v>504</c:v>
                </c:pt>
                <c:pt idx="188">
                  <c:v>536</c:v>
                </c:pt>
                <c:pt idx="189">
                  <c:v>570</c:v>
                </c:pt>
                <c:pt idx="190">
                  <c:v>607</c:v>
                </c:pt>
                <c:pt idx="191">
                  <c:v>646</c:v>
                </c:pt>
                <c:pt idx="192">
                  <c:v>687</c:v>
                </c:pt>
                <c:pt idx="193">
                  <c:v>731</c:v>
                </c:pt>
                <c:pt idx="194">
                  <c:v>777</c:v>
                </c:pt>
                <c:pt idx="195">
                  <c:v>827</c:v>
                </c:pt>
                <c:pt idx="196">
                  <c:v>880</c:v>
                </c:pt>
                <c:pt idx="197">
                  <c:v>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493-4C53-BEF6-F74E1133C63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59</c:v>
                </c:pt>
                <c:pt idx="154">
                  <c:v>64</c:v>
                </c:pt>
                <c:pt idx="155">
                  <c:v>68</c:v>
                </c:pt>
                <c:pt idx="156">
                  <c:v>71</c:v>
                </c:pt>
                <c:pt idx="157">
                  <c:v>75</c:v>
                </c:pt>
                <c:pt idx="158">
                  <c:v>81</c:v>
                </c:pt>
                <c:pt idx="159">
                  <c:v>87</c:v>
                </c:pt>
                <c:pt idx="160">
                  <c:v>93</c:v>
                </c:pt>
                <c:pt idx="161">
                  <c:v>99</c:v>
                </c:pt>
                <c:pt idx="162">
                  <c:v>105</c:v>
                </c:pt>
                <c:pt idx="163">
                  <c:v>111</c:v>
                </c:pt>
                <c:pt idx="164">
                  <c:v>127</c:v>
                </c:pt>
                <c:pt idx="165">
                  <c:v>140</c:v>
                </c:pt>
                <c:pt idx="166">
                  <c:v>152</c:v>
                </c:pt>
                <c:pt idx="167">
                  <c:v>163</c:v>
                </c:pt>
                <c:pt idx="168">
                  <c:v>177</c:v>
                </c:pt>
                <c:pt idx="169">
                  <c:v>194</c:v>
                </c:pt>
                <c:pt idx="170">
                  <c:v>213</c:v>
                </c:pt>
                <c:pt idx="171">
                  <c:v>234</c:v>
                </c:pt>
                <c:pt idx="172">
                  <c:v>254</c:v>
                </c:pt>
                <c:pt idx="173">
                  <c:v>276</c:v>
                </c:pt>
                <c:pt idx="174">
                  <c:v>301</c:v>
                </c:pt>
                <c:pt idx="175">
                  <c:v>329</c:v>
                </c:pt>
                <c:pt idx="176">
                  <c:v>360</c:v>
                </c:pt>
                <c:pt idx="177">
                  <c:v>393</c:v>
                </c:pt>
                <c:pt idx="178">
                  <c:v>428</c:v>
                </c:pt>
                <c:pt idx="179">
                  <c:v>466</c:v>
                </c:pt>
                <c:pt idx="180">
                  <c:v>508</c:v>
                </c:pt>
                <c:pt idx="181">
                  <c:v>555</c:v>
                </c:pt>
                <c:pt idx="182">
                  <c:v>605</c:v>
                </c:pt>
                <c:pt idx="183">
                  <c:v>660</c:v>
                </c:pt>
                <c:pt idx="184">
                  <c:v>719</c:v>
                </c:pt>
                <c:pt idx="185">
                  <c:v>737</c:v>
                </c:pt>
                <c:pt idx="186">
                  <c:v>778</c:v>
                </c:pt>
                <c:pt idx="187">
                  <c:v>833</c:v>
                </c:pt>
                <c:pt idx="188">
                  <c:v>900</c:v>
                </c:pt>
                <c:pt idx="189">
                  <c:v>960</c:v>
                </c:pt>
                <c:pt idx="190">
                  <c:v>1018</c:v>
                </c:pt>
                <c:pt idx="191">
                  <c:v>1077</c:v>
                </c:pt>
                <c:pt idx="192">
                  <c:v>1139</c:v>
                </c:pt>
                <c:pt idx="193">
                  <c:v>1217</c:v>
                </c:pt>
                <c:pt idx="194">
                  <c:v>1300</c:v>
                </c:pt>
                <c:pt idx="195">
                  <c:v>1386</c:v>
                </c:pt>
                <c:pt idx="196">
                  <c:v>1469</c:v>
                </c:pt>
                <c:pt idx="197">
                  <c:v>1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493-4C53-BEF6-F74E1133C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0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 formatCode="General">
                  <c:v>100</c:v>
                </c:pt>
                <c:pt idx="154" formatCode="General">
                  <c:v>100</c:v>
                </c:pt>
                <c:pt idx="155" formatCode="General">
                  <c:v>100</c:v>
                </c:pt>
                <c:pt idx="156" formatCode="General">
                  <c:v>100</c:v>
                </c:pt>
                <c:pt idx="157" formatCode="General">
                  <c:v>100</c:v>
                </c:pt>
                <c:pt idx="158" formatCode="General">
                  <c:v>100</c:v>
                </c:pt>
                <c:pt idx="159" formatCode="General">
                  <c:v>100</c:v>
                </c:pt>
                <c:pt idx="160" formatCode="General">
                  <c:v>100</c:v>
                </c:pt>
                <c:pt idx="161" formatCode="General">
                  <c:v>100</c:v>
                </c:pt>
                <c:pt idx="162" formatCode="General">
                  <c:v>100</c:v>
                </c:pt>
                <c:pt idx="163" formatCode="General">
                  <c:v>100</c:v>
                </c:pt>
                <c:pt idx="164" formatCode="General">
                  <c:v>100</c:v>
                </c:pt>
                <c:pt idx="165" formatCode="General">
                  <c:v>100</c:v>
                </c:pt>
                <c:pt idx="166" formatCode="General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2F-4BD0-9093-BC5C0FF99C02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0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 formatCode="General">
                  <c:v>50</c:v>
                </c:pt>
                <c:pt idx="154" formatCode="General">
                  <c:v>50</c:v>
                </c:pt>
                <c:pt idx="155" formatCode="General">
                  <c:v>50</c:v>
                </c:pt>
                <c:pt idx="156" formatCode="General">
                  <c:v>50</c:v>
                </c:pt>
                <c:pt idx="157" formatCode="General">
                  <c:v>50</c:v>
                </c:pt>
                <c:pt idx="158" formatCode="General">
                  <c:v>50</c:v>
                </c:pt>
                <c:pt idx="159" formatCode="General">
                  <c:v>50</c:v>
                </c:pt>
                <c:pt idx="160" formatCode="General">
                  <c:v>50</c:v>
                </c:pt>
                <c:pt idx="161" formatCode="General">
                  <c:v>50</c:v>
                </c:pt>
                <c:pt idx="162" formatCode="General">
                  <c:v>50</c:v>
                </c:pt>
                <c:pt idx="163" formatCode="General">
                  <c:v>50</c:v>
                </c:pt>
                <c:pt idx="164" formatCode="General">
                  <c:v>50</c:v>
                </c:pt>
                <c:pt idx="165" formatCode="General">
                  <c:v>50</c:v>
                </c:pt>
                <c:pt idx="166" formatCode="General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35.117651903267962</c:v>
                </c:pt>
                <c:pt idx="1">
                  <c:v>34.80687622270807</c:v>
                </c:pt>
                <c:pt idx="2">
                  <c:v>40.400838472786155</c:v>
                </c:pt>
                <c:pt idx="3">
                  <c:v>35.894591104667697</c:v>
                </c:pt>
                <c:pt idx="4">
                  <c:v>37.137693826907274</c:v>
                </c:pt>
                <c:pt idx="5">
                  <c:v>36.516142465787482</c:v>
                </c:pt>
                <c:pt idx="6">
                  <c:v>34.185324861588278</c:v>
                </c:pt>
                <c:pt idx="7">
                  <c:v>38.225408708866894</c:v>
                </c:pt>
                <c:pt idx="8">
                  <c:v>37.603857347747109</c:v>
                </c:pt>
                <c:pt idx="9">
                  <c:v>28.280586930950303</c:v>
                </c:pt>
                <c:pt idx="10">
                  <c:v>27.969811250390414</c:v>
                </c:pt>
                <c:pt idx="11">
                  <c:v>26.260545007310998</c:v>
                </c:pt>
                <c:pt idx="12">
                  <c:v>25.949769326751102</c:v>
                </c:pt>
                <c:pt idx="13">
                  <c:v>25.328217965631318</c:v>
                </c:pt>
                <c:pt idx="14">
                  <c:v>20.045031396113128</c:v>
                </c:pt>
                <c:pt idx="15">
                  <c:v>17.558825951633981</c:v>
                </c:pt>
                <c:pt idx="16">
                  <c:v>17.092662430794139</c:v>
                </c:pt>
                <c:pt idx="17">
                  <c:v>13.363354264075419</c:v>
                </c:pt>
                <c:pt idx="18">
                  <c:v>13.052578583515526</c:v>
                </c:pt>
                <c:pt idx="19">
                  <c:v>13.207966423795471</c:v>
                </c:pt>
                <c:pt idx="20">
                  <c:v>11.343312340436112</c:v>
                </c:pt>
                <c:pt idx="21">
                  <c:v>8.7017190556770174</c:v>
                </c:pt>
                <c:pt idx="22">
                  <c:v>7.1478406528775498</c:v>
                </c:pt>
                <c:pt idx="23">
                  <c:v>4.9724108889582954</c:v>
                </c:pt>
                <c:pt idx="24">
                  <c:v>4.0400838472786154</c:v>
                </c:pt>
                <c:pt idx="25">
                  <c:v>3.4185324861588278</c:v>
                </c:pt>
                <c:pt idx="26">
                  <c:v>3.2631446458788815</c:v>
                </c:pt>
                <c:pt idx="27">
                  <c:v>2.9523689653189882</c:v>
                </c:pt>
                <c:pt idx="28">
                  <c:v>2.330817604199201</c:v>
                </c:pt>
                <c:pt idx="29">
                  <c:v>2.0200419236393077</c:v>
                </c:pt>
                <c:pt idx="30">
                  <c:v>2.330817604199201</c:v>
                </c:pt>
                <c:pt idx="31">
                  <c:v>2.9523689653189882</c:v>
                </c:pt>
                <c:pt idx="32">
                  <c:v>3.4185324861588278</c:v>
                </c:pt>
                <c:pt idx="33">
                  <c:v>3.7293081667187216</c:v>
                </c:pt>
                <c:pt idx="34">
                  <c:v>3.5739203264387749</c:v>
                </c:pt>
                <c:pt idx="35">
                  <c:v>3.4185324861588278</c:v>
                </c:pt>
                <c:pt idx="36">
                  <c:v>3.7293081667187216</c:v>
                </c:pt>
                <c:pt idx="37">
                  <c:v>3.7293081667187216</c:v>
                </c:pt>
                <c:pt idx="38">
                  <c:v>4.5062473681184549</c:v>
                </c:pt>
                <c:pt idx="39">
                  <c:v>4.6616352083984021</c:v>
                </c:pt>
                <c:pt idx="40">
                  <c:v>4.3508595278385087</c:v>
                </c:pt>
                <c:pt idx="41">
                  <c:v>5.4385744097981359</c:v>
                </c:pt>
                <c:pt idx="42">
                  <c:v>6.8370649723176555</c:v>
                </c:pt>
                <c:pt idx="43">
                  <c:v>7.1478406528775498</c:v>
                </c:pt>
                <c:pt idx="44">
                  <c:v>7.303228493157496</c:v>
                </c:pt>
                <c:pt idx="45">
                  <c:v>6.8370649723176555</c:v>
                </c:pt>
                <c:pt idx="46">
                  <c:v>6.8370649723176555</c:v>
                </c:pt>
                <c:pt idx="47">
                  <c:v>6.9924528125976035</c:v>
                </c:pt>
                <c:pt idx="48">
                  <c:v>7.303228493157496</c:v>
                </c:pt>
                <c:pt idx="49">
                  <c:v>6.3709014514778159</c:v>
                </c:pt>
                <c:pt idx="50">
                  <c:v>7.303228493157496</c:v>
                </c:pt>
                <c:pt idx="51">
                  <c:v>7.7693920139973374</c:v>
                </c:pt>
                <c:pt idx="52">
                  <c:v>8.0801676945572307</c:v>
                </c:pt>
                <c:pt idx="53">
                  <c:v>7.7693920139973374</c:v>
                </c:pt>
                <c:pt idx="54">
                  <c:v>7.9247798542772836</c:v>
                </c:pt>
                <c:pt idx="55">
                  <c:v>7.1478406528775498</c:v>
                </c:pt>
                <c:pt idx="56">
                  <c:v>9.1678825765168579</c:v>
                </c:pt>
                <c:pt idx="57">
                  <c:v>9.0124947362369099</c:v>
                </c:pt>
                <c:pt idx="58">
                  <c:v>9.0124947362369099</c:v>
                </c:pt>
                <c:pt idx="59">
                  <c:v>8.8571068959569637</c:v>
                </c:pt>
                <c:pt idx="60">
                  <c:v>8.7017190556770174</c:v>
                </c:pt>
                <c:pt idx="61">
                  <c:v>8.5463312153970694</c:v>
                </c:pt>
                <c:pt idx="62">
                  <c:v>9.0124947362369099</c:v>
                </c:pt>
                <c:pt idx="63">
                  <c:v>7.7693920139973374</c:v>
                </c:pt>
                <c:pt idx="64">
                  <c:v>8.3909433751171232</c:v>
                </c:pt>
                <c:pt idx="65">
                  <c:v>9.9448217779165908</c:v>
                </c:pt>
                <c:pt idx="66">
                  <c:v>10.877148819596272</c:v>
                </c:pt>
                <c:pt idx="67">
                  <c:v>11.498700180716058</c:v>
                </c:pt>
                <c:pt idx="68">
                  <c:v>11.809475861275953</c:v>
                </c:pt>
                <c:pt idx="69">
                  <c:v>12.431027222395739</c:v>
                </c:pt>
                <c:pt idx="70">
                  <c:v>14.451069146035048</c:v>
                </c:pt>
                <c:pt idx="71">
                  <c:v>15.383396187714727</c:v>
                </c:pt>
                <c:pt idx="72">
                  <c:v>14.606456986314992</c:v>
                </c:pt>
                <c:pt idx="73">
                  <c:v>14.76184482659494</c:v>
                </c:pt>
                <c:pt idx="74">
                  <c:v>15.694171868274619</c:v>
                </c:pt>
                <c:pt idx="75">
                  <c:v>15.538784027994675</c:v>
                </c:pt>
                <c:pt idx="76">
                  <c:v>15.849559708554567</c:v>
                </c:pt>
                <c:pt idx="77">
                  <c:v>17.558825951633981</c:v>
                </c:pt>
                <c:pt idx="78">
                  <c:v>17.558825951633981</c:v>
                </c:pt>
                <c:pt idx="79">
                  <c:v>17.558825951633981</c:v>
                </c:pt>
                <c:pt idx="80">
                  <c:v>17.869601632193874</c:v>
                </c:pt>
                <c:pt idx="81">
                  <c:v>17.092662430794139</c:v>
                </c:pt>
                <c:pt idx="82">
                  <c:v>17.714213791913927</c:v>
                </c:pt>
                <c:pt idx="83">
                  <c:v>17.714213791913927</c:v>
                </c:pt>
                <c:pt idx="84">
                  <c:v>16.004947548834515</c:v>
                </c:pt>
                <c:pt idx="85">
                  <c:v>14.76184482659494</c:v>
                </c:pt>
                <c:pt idx="86">
                  <c:v>14.917232666874886</c:v>
                </c:pt>
                <c:pt idx="87">
                  <c:v>14.451069146035048</c:v>
                </c:pt>
                <c:pt idx="88">
                  <c:v>14.2956813057551</c:v>
                </c:pt>
                <c:pt idx="89">
                  <c:v>14.140293465475152</c:v>
                </c:pt>
                <c:pt idx="90">
                  <c:v>15.228008347434779</c:v>
                </c:pt>
                <c:pt idx="91">
                  <c:v>16.6264989099543</c:v>
                </c:pt>
                <c:pt idx="92">
                  <c:v>17.869601632193874</c:v>
                </c:pt>
                <c:pt idx="93">
                  <c:v>19.423480034993339</c:v>
                </c:pt>
                <c:pt idx="94">
                  <c:v>20.51119491695297</c:v>
                </c:pt>
                <c:pt idx="95">
                  <c:v>21.90968547947249</c:v>
                </c:pt>
                <c:pt idx="96">
                  <c:v>22.997400361432117</c:v>
                </c:pt>
                <c:pt idx="97">
                  <c:v>21.754297639192544</c:v>
                </c:pt>
                <c:pt idx="98">
                  <c:v>24.24050308367169</c:v>
                </c:pt>
                <c:pt idx="99">
                  <c:v>24.706666604511533</c:v>
                </c:pt>
                <c:pt idx="100">
                  <c:v>24.24050308367169</c:v>
                </c:pt>
                <c:pt idx="101">
                  <c:v>25.794381486471156</c:v>
                </c:pt>
                <c:pt idx="102">
                  <c:v>25.328217965631318</c:v>
                </c:pt>
                <c:pt idx="103">
                  <c:v>24.395890923951637</c:v>
                </c:pt>
                <c:pt idx="104">
                  <c:v>25.794381486471156</c:v>
                </c:pt>
                <c:pt idx="105">
                  <c:v>23.774339562831848</c:v>
                </c:pt>
                <c:pt idx="106">
                  <c:v>23.152788201712063</c:v>
                </c:pt>
                <c:pt idx="107">
                  <c:v>24.706666604511533</c:v>
                </c:pt>
                <c:pt idx="108">
                  <c:v>24.395890923951637</c:v>
                </c:pt>
                <c:pt idx="109">
                  <c:v>23.929727403111798</c:v>
                </c:pt>
                <c:pt idx="110">
                  <c:v>24.24050308367169</c:v>
                </c:pt>
                <c:pt idx="111">
                  <c:v>25.172830125351371</c:v>
                </c:pt>
                <c:pt idx="112">
                  <c:v>25.328217965631318</c:v>
                </c:pt>
                <c:pt idx="113">
                  <c:v>27.503647729550572</c:v>
                </c:pt>
                <c:pt idx="114">
                  <c:v>26.571320687870895</c:v>
                </c:pt>
                <c:pt idx="115">
                  <c:v>27.503647729550572</c:v>
                </c:pt>
                <c:pt idx="116">
                  <c:v>31.388343736549238</c:v>
                </c:pt>
                <c:pt idx="117">
                  <c:v>32.165282937948973</c:v>
                </c:pt>
                <c:pt idx="118">
                  <c:v>36.671530306067432</c:v>
                </c:pt>
                <c:pt idx="119">
                  <c:v>33.719161340748443</c:v>
                </c:pt>
                <c:pt idx="120">
                  <c:v>36.360754625507539</c:v>
                </c:pt>
                <c:pt idx="121">
                  <c:v>42.887043917265295</c:v>
                </c:pt>
                <c:pt idx="122">
                  <c:v>50.034884570142843</c:v>
                </c:pt>
                <c:pt idx="123">
                  <c:v>50.967211611822528</c:v>
                </c:pt>
                <c:pt idx="124">
                  <c:v>51.588762972942313</c:v>
                </c:pt>
                <c:pt idx="125">
                  <c:v>51.899538653502205</c:v>
                </c:pt>
                <c:pt idx="126">
                  <c:v>67.749098362056785</c:v>
                </c:pt>
                <c:pt idx="127">
                  <c:v>71.633794369055451</c:v>
                </c:pt>
                <c:pt idx="128">
                  <c:v>76.295429577453845</c:v>
                </c:pt>
                <c:pt idx="129">
                  <c:v>79.713962063612684</c:v>
                </c:pt>
                <c:pt idx="130">
                  <c:v>76.450817417733788</c:v>
                </c:pt>
                <c:pt idx="131">
                  <c:v>76.60620525801373</c:v>
                </c:pt>
                <c:pt idx="132">
                  <c:v>86.395639195650389</c:v>
                </c:pt>
                <c:pt idx="133">
                  <c:v>95.252746091607349</c:v>
                </c:pt>
                <c:pt idx="134">
                  <c:v>111.10230580016191</c:v>
                </c:pt>
                <c:pt idx="135">
                  <c:v>114.67622612660068</c:v>
                </c:pt>
                <c:pt idx="136">
                  <c:v>127.26264118927638</c:v>
                </c:pt>
                <c:pt idx="137">
                  <c:v>136.89668728663307</c:v>
                </c:pt>
                <c:pt idx="138">
                  <c:v>140.93677113391169</c:v>
                </c:pt>
                <c:pt idx="139">
                  <c:v>150.57081723126839</c:v>
                </c:pt>
                <c:pt idx="140">
                  <c:v>166.73115262038286</c:v>
                </c:pt>
                <c:pt idx="141">
                  <c:v>192.21475842629411</c:v>
                </c:pt>
                <c:pt idx="142">
                  <c:v>218.63069127388505</c:v>
                </c:pt>
                <c:pt idx="143">
                  <c:v>254.36989453827277</c:v>
                </c:pt>
                <c:pt idx="144">
                  <c:v>265.71320687870895</c:v>
                </c:pt>
                <c:pt idx="145">
                  <c:v>266.17937039954876</c:v>
                </c:pt>
                <c:pt idx="146">
                  <c:v>284.35974771230252</c:v>
                </c:pt>
                <c:pt idx="147">
                  <c:v>325.84830106704834</c:v>
                </c:pt>
                <c:pt idx="148">
                  <c:v>358.94591104667694</c:v>
                </c:pt>
                <c:pt idx="149">
                  <c:v>338.90087965056381</c:v>
                </c:pt>
                <c:pt idx="150">
                  <c:v>344.33945406036196</c:v>
                </c:pt>
                <c:pt idx="151">
                  <c:v>364.8506489773149</c:v>
                </c:pt>
                <c:pt idx="152">
                  <c:v>375.10624643579138</c:v>
                </c:pt>
                <c:pt idx="153">
                  <c:v>411.46700106129896</c:v>
                </c:pt>
                <c:pt idx="154">
                  <c:v>454.82020849940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2F-4BD0-9093-BC5C0FF99C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>
                  <c:v>43.042431757545245</c:v>
                </c:pt>
                <c:pt idx="123">
                  <c:v>44.751698000624657</c:v>
                </c:pt>
                <c:pt idx="124">
                  <c:v>46.460964243704076</c:v>
                </c:pt>
                <c:pt idx="125">
                  <c:v>48.325618327063431</c:v>
                </c:pt>
                <c:pt idx="126">
                  <c:v>50.034884570142843</c:v>
                </c:pt>
                <c:pt idx="127">
                  <c:v>51.899538653502205</c:v>
                </c:pt>
                <c:pt idx="128">
                  <c:v>53.919580577141524</c:v>
                </c:pt>
                <c:pt idx="129">
                  <c:v>56.095010341060771</c:v>
                </c:pt>
                <c:pt idx="130">
                  <c:v>58.270440104980025</c:v>
                </c:pt>
                <c:pt idx="131">
                  <c:v>60.44586986889928</c:v>
                </c:pt>
                <c:pt idx="132">
                  <c:v>62.621299632818534</c:v>
                </c:pt>
                <c:pt idx="133">
                  <c:v>65.107505077297688</c:v>
                </c:pt>
                <c:pt idx="134">
                  <c:v>67.593710521776828</c:v>
                </c:pt>
                <c:pt idx="135">
                  <c:v>70.235303806535924</c:v>
                </c:pt>
                <c:pt idx="136">
                  <c:v>72.721509251015078</c:v>
                </c:pt>
                <c:pt idx="137">
                  <c:v>75.363102535774161</c:v>
                </c:pt>
                <c:pt idx="138">
                  <c:v>78.160083660813214</c:v>
                </c:pt>
                <c:pt idx="139">
                  <c:v>81.112452626132196</c:v>
                </c:pt>
                <c:pt idx="140">
                  <c:v>84.064821591451178</c:v>
                </c:pt>
                <c:pt idx="141">
                  <c:v>87.172578397050117</c:v>
                </c:pt>
                <c:pt idx="142">
                  <c:v>90.280335202649056</c:v>
                </c:pt>
                <c:pt idx="143">
                  <c:v>93.543479848527937</c:v>
                </c:pt>
                <c:pt idx="144">
                  <c:v>96.962012334686762</c:v>
                </c:pt>
                <c:pt idx="145">
                  <c:v>100.3805448208456</c:v>
                </c:pt>
                <c:pt idx="146">
                  <c:v>103.95446514728437</c:v>
                </c:pt>
                <c:pt idx="147">
                  <c:v>107.68377331400309</c:v>
                </c:pt>
                <c:pt idx="148">
                  <c:v>111.56846932100176</c:v>
                </c:pt>
                <c:pt idx="149">
                  <c:v>115.60855316828038</c:v>
                </c:pt>
                <c:pt idx="150">
                  <c:v>119.80402485583895</c:v>
                </c:pt>
                <c:pt idx="151">
                  <c:v>123.99949654339748</c:v>
                </c:pt>
                <c:pt idx="152">
                  <c:v>128.50574391151594</c:v>
                </c:pt>
                <c:pt idx="153">
                  <c:v>133.0119912796344</c:v>
                </c:pt>
                <c:pt idx="154">
                  <c:v>137.67362648803282</c:v>
                </c:pt>
                <c:pt idx="155">
                  <c:v>142.49064953671115</c:v>
                </c:pt>
                <c:pt idx="156">
                  <c:v>147.46306042566945</c:v>
                </c:pt>
                <c:pt idx="157">
                  <c:v>152.59085915490769</c:v>
                </c:pt>
                <c:pt idx="158">
                  <c:v>158.02943356470581</c:v>
                </c:pt>
                <c:pt idx="159">
                  <c:v>163.46800797450396</c:v>
                </c:pt>
                <c:pt idx="160">
                  <c:v>169.217358064862</c:v>
                </c:pt>
                <c:pt idx="161">
                  <c:v>175.12209599549999</c:v>
                </c:pt>
                <c:pt idx="162">
                  <c:v>181.18222176641788</c:v>
                </c:pt>
                <c:pt idx="163">
                  <c:v>187.55312321789569</c:v>
                </c:pt>
                <c:pt idx="164">
                  <c:v>194.23480034993341</c:v>
                </c:pt>
                <c:pt idx="165">
                  <c:v>200.91647748197113</c:v>
                </c:pt>
                <c:pt idx="166">
                  <c:v>208.06431813484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12F-4BD0-9093-BC5C0FF99C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>
                  <c:v>43.353207438105137</c:v>
                </c:pt>
                <c:pt idx="123">
                  <c:v>45.528637202024392</c:v>
                </c:pt>
                <c:pt idx="124">
                  <c:v>47.704066965943646</c:v>
                </c:pt>
                <c:pt idx="125">
                  <c:v>50.034884570142843</c:v>
                </c:pt>
                <c:pt idx="126">
                  <c:v>52.521090014621997</c:v>
                </c:pt>
                <c:pt idx="127">
                  <c:v>55.318071139661036</c:v>
                </c:pt>
                <c:pt idx="128">
                  <c:v>58.425827945259968</c:v>
                </c:pt>
                <c:pt idx="129">
                  <c:v>61.533584750858907</c:v>
                </c:pt>
                <c:pt idx="130">
                  <c:v>64.641341556457846</c:v>
                </c:pt>
                <c:pt idx="131">
                  <c:v>67.904486202336727</c:v>
                </c:pt>
                <c:pt idx="132">
                  <c:v>71.478406528775494</c:v>
                </c:pt>
                <c:pt idx="133">
                  <c:v>75.207714695494218</c:v>
                </c:pt>
                <c:pt idx="134">
                  <c:v>79.092410702492884</c:v>
                </c:pt>
                <c:pt idx="135">
                  <c:v>83.28788239005145</c:v>
                </c:pt>
                <c:pt idx="136">
                  <c:v>87.483354077610016</c:v>
                </c:pt>
                <c:pt idx="137">
                  <c:v>91.989601445728468</c:v>
                </c:pt>
                <c:pt idx="138">
                  <c:v>96.806624494406819</c:v>
                </c:pt>
                <c:pt idx="139">
                  <c:v>101.77903538336511</c:v>
                </c:pt>
                <c:pt idx="140">
                  <c:v>107.06222195288331</c:v>
                </c:pt>
                <c:pt idx="141">
                  <c:v>112.65618420296138</c:v>
                </c:pt>
                <c:pt idx="142">
                  <c:v>118.40553429331941</c:v>
                </c:pt>
                <c:pt idx="143">
                  <c:v>124.46566006423733</c:v>
                </c:pt>
                <c:pt idx="144">
                  <c:v>130.83656151571515</c:v>
                </c:pt>
                <c:pt idx="145">
                  <c:v>137.51823864775287</c:v>
                </c:pt>
                <c:pt idx="146">
                  <c:v>144.51069146035044</c:v>
                </c:pt>
                <c:pt idx="147">
                  <c:v>151.81391995350796</c:v>
                </c:pt>
                <c:pt idx="148">
                  <c:v>159.42792412722537</c:v>
                </c:pt>
                <c:pt idx="149">
                  <c:v>167.50809182178259</c:v>
                </c:pt>
                <c:pt idx="150">
                  <c:v>175.89903519689972</c:v>
                </c:pt>
                <c:pt idx="151">
                  <c:v>184.75614209285666</c:v>
                </c:pt>
                <c:pt idx="152">
                  <c:v>194.07941250965348</c:v>
                </c:pt>
                <c:pt idx="153">
                  <c:v>203.86884644729011</c:v>
                </c:pt>
                <c:pt idx="154">
                  <c:v>214.12444390576661</c:v>
                </c:pt>
                <c:pt idx="155">
                  <c:v>224.84620488508293</c:v>
                </c:pt>
                <c:pt idx="156">
                  <c:v>236.03412938523908</c:v>
                </c:pt>
                <c:pt idx="157">
                  <c:v>247.84360524651504</c:v>
                </c:pt>
                <c:pt idx="158">
                  <c:v>260.27463246891074</c:v>
                </c:pt>
                <c:pt idx="159">
                  <c:v>273.17182321214636</c:v>
                </c:pt>
                <c:pt idx="160">
                  <c:v>286.84595315678166</c:v>
                </c:pt>
                <c:pt idx="161">
                  <c:v>301.14163446253679</c:v>
                </c:pt>
                <c:pt idx="162">
                  <c:v>316.21425496969164</c:v>
                </c:pt>
                <c:pt idx="163">
                  <c:v>331.9084268379662</c:v>
                </c:pt>
                <c:pt idx="164">
                  <c:v>348.53492574792051</c:v>
                </c:pt>
                <c:pt idx="165">
                  <c:v>365.78297601899465</c:v>
                </c:pt>
                <c:pt idx="166">
                  <c:v>383.96335333174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12F-4BD0-9093-BC5C0FF99C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>
                  <c:v>43.66398311866503</c:v>
                </c:pt>
                <c:pt idx="123">
                  <c:v>46.150188563144177</c:v>
                </c:pt>
                <c:pt idx="124">
                  <c:v>48.791781847903273</c:v>
                </c:pt>
                <c:pt idx="125">
                  <c:v>51.744150813222262</c:v>
                </c:pt>
                <c:pt idx="126">
                  <c:v>55.007295459101144</c:v>
                </c:pt>
                <c:pt idx="127">
                  <c:v>58.736603625819868</c:v>
                </c:pt>
                <c:pt idx="128">
                  <c:v>63.087463153658376</c:v>
                </c:pt>
                <c:pt idx="129">
                  <c:v>67.282934841216928</c:v>
                </c:pt>
                <c:pt idx="130">
                  <c:v>71.633794369055451</c:v>
                </c:pt>
                <c:pt idx="131">
                  <c:v>76.295429577453845</c:v>
                </c:pt>
                <c:pt idx="132">
                  <c:v>81.267840466412139</c:v>
                </c:pt>
                <c:pt idx="133">
                  <c:v>86.706414876210275</c:v>
                </c:pt>
                <c:pt idx="134">
                  <c:v>92.455764966568296</c:v>
                </c:pt>
                <c:pt idx="135">
                  <c:v>98.515890737486217</c:v>
                </c:pt>
                <c:pt idx="136">
                  <c:v>104.88679218896404</c:v>
                </c:pt>
                <c:pt idx="137">
                  <c:v>111.7238571612817</c:v>
                </c:pt>
                <c:pt idx="138">
                  <c:v>119.0270856544392</c:v>
                </c:pt>
                <c:pt idx="139">
                  <c:v>126.95186550871647</c:v>
                </c:pt>
                <c:pt idx="140">
                  <c:v>135.18742104355366</c:v>
                </c:pt>
                <c:pt idx="141">
                  <c:v>144.04452793951063</c:v>
                </c:pt>
                <c:pt idx="142">
                  <c:v>153.36779835630742</c:v>
                </c:pt>
                <c:pt idx="143">
                  <c:v>163.31262013422401</c:v>
                </c:pt>
                <c:pt idx="144">
                  <c:v>173.87899327326039</c:v>
                </c:pt>
                <c:pt idx="145">
                  <c:v>185.22230561369651</c:v>
                </c:pt>
                <c:pt idx="146">
                  <c:v>197.18716931525242</c:v>
                </c:pt>
                <c:pt idx="147">
                  <c:v>209.92897221820806</c:v>
                </c:pt>
                <c:pt idx="148">
                  <c:v>223.29232648228347</c:v>
                </c:pt>
                <c:pt idx="149">
                  <c:v>237.58800778803857</c:v>
                </c:pt>
                <c:pt idx="150">
                  <c:v>252.81601613547332</c:v>
                </c:pt>
                <c:pt idx="151">
                  <c:v>269.13173936486771</c:v>
                </c:pt>
                <c:pt idx="152">
                  <c:v>286.37978963594185</c:v>
                </c:pt>
                <c:pt idx="153">
                  <c:v>304.71555478897557</c:v>
                </c:pt>
                <c:pt idx="154">
                  <c:v>324.29442266424883</c:v>
                </c:pt>
                <c:pt idx="155">
                  <c:v>345.11639326176169</c:v>
                </c:pt>
                <c:pt idx="156">
                  <c:v>367.3368544217941</c:v>
                </c:pt>
                <c:pt idx="157">
                  <c:v>390.95580614434601</c:v>
                </c:pt>
                <c:pt idx="158">
                  <c:v>415.97324842941742</c:v>
                </c:pt>
                <c:pt idx="159">
                  <c:v>442.54456911728829</c:v>
                </c:pt>
                <c:pt idx="160">
                  <c:v>470.82515604823863</c:v>
                </c:pt>
                <c:pt idx="161">
                  <c:v>500.97039706254827</c:v>
                </c:pt>
                <c:pt idx="162">
                  <c:v>533.13568000049725</c:v>
                </c:pt>
                <c:pt idx="163">
                  <c:v>567.16561702180559</c:v>
                </c:pt>
                <c:pt idx="164">
                  <c:v>603.37098380703321</c:v>
                </c:pt>
                <c:pt idx="165">
                  <c:v>641.90716819645991</c:v>
                </c:pt>
                <c:pt idx="166">
                  <c:v>682.92955803036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12F-4BD0-9093-BC5C0FF99C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>
                  <c:v>43.66398311866503</c:v>
                </c:pt>
                <c:pt idx="123">
                  <c:v>46.150188563144177</c:v>
                </c:pt>
                <c:pt idx="124">
                  <c:v>48.791781847903273</c:v>
                </c:pt>
                <c:pt idx="125">
                  <c:v>51.744150813222262</c:v>
                </c:pt>
                <c:pt idx="126">
                  <c:v>55.007295459101144</c:v>
                </c:pt>
                <c:pt idx="127">
                  <c:v>58.736603625819868</c:v>
                </c:pt>
                <c:pt idx="128">
                  <c:v>63.087463153658376</c:v>
                </c:pt>
                <c:pt idx="129">
                  <c:v>67.282934841216928</c:v>
                </c:pt>
                <c:pt idx="130">
                  <c:v>71.633794369055451</c:v>
                </c:pt>
                <c:pt idx="131">
                  <c:v>76.295429577453845</c:v>
                </c:pt>
                <c:pt idx="132">
                  <c:v>81.267840466412139</c:v>
                </c:pt>
                <c:pt idx="133">
                  <c:v>87.638741917889959</c:v>
                </c:pt>
                <c:pt idx="134">
                  <c:v>94.94197041104745</c:v>
                </c:pt>
                <c:pt idx="135">
                  <c:v>103.02213810560467</c:v>
                </c:pt>
                <c:pt idx="136">
                  <c:v>111.7238571612817</c:v>
                </c:pt>
                <c:pt idx="137">
                  <c:v>121.51329109891834</c:v>
                </c:pt>
                <c:pt idx="138">
                  <c:v>132.70121559907452</c:v>
                </c:pt>
                <c:pt idx="139">
                  <c:v>145.44301850203016</c:v>
                </c:pt>
                <c:pt idx="140">
                  <c:v>158.80637276610557</c:v>
                </c:pt>
                <c:pt idx="141">
                  <c:v>173.10205407186066</c:v>
                </c:pt>
                <c:pt idx="142">
                  <c:v>188.4854502595754</c:v>
                </c:pt>
                <c:pt idx="143">
                  <c:v>205.57811269036955</c:v>
                </c:pt>
                <c:pt idx="144">
                  <c:v>224.53542920452301</c:v>
                </c:pt>
                <c:pt idx="145">
                  <c:v>245.20201196175594</c:v>
                </c:pt>
                <c:pt idx="146">
                  <c:v>267.57786096206826</c:v>
                </c:pt>
                <c:pt idx="147">
                  <c:v>291.66297620545998</c:v>
                </c:pt>
                <c:pt idx="148">
                  <c:v>317.92352121277105</c:v>
                </c:pt>
                <c:pt idx="149">
                  <c:v>346.8256595048411</c:v>
                </c:pt>
                <c:pt idx="150">
                  <c:v>378.52477892195026</c:v>
                </c:pt>
                <c:pt idx="151">
                  <c:v>412.86549162381851</c:v>
                </c:pt>
                <c:pt idx="152">
                  <c:v>450.15857329100572</c:v>
                </c:pt>
                <c:pt idx="153">
                  <c:v>490.71479960407174</c:v>
                </c:pt>
                <c:pt idx="154">
                  <c:v>529.25098399349861</c:v>
                </c:pt>
                <c:pt idx="155">
                  <c:v>568.09794406348522</c:v>
                </c:pt>
                <c:pt idx="156">
                  <c:v>608.65417037655141</c:v>
                </c:pt>
                <c:pt idx="157">
                  <c:v>651.54121429381667</c:v>
                </c:pt>
                <c:pt idx="158">
                  <c:v>695.67136093332158</c:v>
                </c:pt>
                <c:pt idx="159">
                  <c:v>740.26767109366619</c:v>
                </c:pt>
                <c:pt idx="160">
                  <c:v>784.86398125401092</c:v>
                </c:pt>
                <c:pt idx="161">
                  <c:v>834.89886582415375</c:v>
                </c:pt>
                <c:pt idx="162">
                  <c:v>889.59538560269505</c:v>
                </c:pt>
                <c:pt idx="163">
                  <c:v>947.71043786739517</c:v>
                </c:pt>
                <c:pt idx="164">
                  <c:v>1008.3116955765744</c:v>
                </c:pt>
                <c:pt idx="165">
                  <c:v>1071.8653222510725</c:v>
                </c:pt>
                <c:pt idx="166">
                  <c:v>1139.3036449325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12F-4BD0-9093-BC5C0FF99C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33</c:v>
                </c:pt>
                <c:pt idx="1">
                  <c:v>13</c:v>
                </c:pt>
                <c:pt idx="2">
                  <c:v>54</c:v>
                </c:pt>
                <c:pt idx="3">
                  <c:v>100</c:v>
                </c:pt>
                <c:pt idx="4">
                  <c:v>65</c:v>
                </c:pt>
                <c:pt idx="5">
                  <c:v>56</c:v>
                </c:pt>
                <c:pt idx="6">
                  <c:v>66</c:v>
                </c:pt>
                <c:pt idx="7">
                  <c:v>11</c:v>
                </c:pt>
                <c:pt idx="8">
                  <c:v>20</c:v>
                </c:pt>
                <c:pt idx="9">
                  <c:v>57</c:v>
                </c:pt>
                <c:pt idx="10">
                  <c:v>43</c:v>
                </c:pt>
                <c:pt idx="11">
                  <c:v>43</c:v>
                </c:pt>
                <c:pt idx="12">
                  <c:v>31</c:v>
                </c:pt>
                <c:pt idx="13">
                  <c:v>27</c:v>
                </c:pt>
                <c:pt idx="14">
                  <c:v>9</c:v>
                </c:pt>
                <c:pt idx="15">
                  <c:v>9</c:v>
                </c:pt>
                <c:pt idx="16">
                  <c:v>49</c:v>
                </c:pt>
                <c:pt idx="17">
                  <c:v>42</c:v>
                </c:pt>
                <c:pt idx="18">
                  <c:v>29</c:v>
                </c:pt>
                <c:pt idx="19">
                  <c:v>29</c:v>
                </c:pt>
                <c:pt idx="20">
                  <c:v>25</c:v>
                </c:pt>
                <c:pt idx="21">
                  <c:v>8</c:v>
                </c:pt>
                <c:pt idx="22">
                  <c:v>11</c:v>
                </c:pt>
                <c:pt idx="23">
                  <c:v>42</c:v>
                </c:pt>
                <c:pt idx="24">
                  <c:v>34</c:v>
                </c:pt>
                <c:pt idx="25">
                  <c:v>21</c:v>
                </c:pt>
                <c:pt idx="26">
                  <c:v>25</c:v>
                </c:pt>
                <c:pt idx="27">
                  <c:v>23</c:v>
                </c:pt>
                <c:pt idx="28">
                  <c:v>10</c:v>
                </c:pt>
                <c:pt idx="29">
                  <c:v>1</c:v>
                </c:pt>
                <c:pt idx="30">
                  <c:v>28</c:v>
                </c:pt>
                <c:pt idx="31">
                  <c:v>38</c:v>
                </c:pt>
                <c:pt idx="32">
                  <c:v>17</c:v>
                </c:pt>
                <c:pt idx="33">
                  <c:v>25</c:v>
                </c:pt>
                <c:pt idx="34">
                  <c:v>28</c:v>
                </c:pt>
                <c:pt idx="35">
                  <c:v>5</c:v>
                </c:pt>
                <c:pt idx="36">
                  <c:v>6</c:v>
                </c:pt>
                <c:pt idx="37">
                  <c:v>23</c:v>
                </c:pt>
                <c:pt idx="38">
                  <c:v>24</c:v>
                </c:pt>
                <c:pt idx="39">
                  <c:v>22</c:v>
                </c:pt>
                <c:pt idx="40">
                  <c:v>11</c:v>
                </c:pt>
                <c:pt idx="41">
                  <c:v>17</c:v>
                </c:pt>
                <c:pt idx="42">
                  <c:v>1</c:v>
                </c:pt>
                <c:pt idx="43">
                  <c:v>0</c:v>
                </c:pt>
                <c:pt idx="44">
                  <c:v>11</c:v>
                </c:pt>
                <c:pt idx="45">
                  <c:v>16</c:v>
                </c:pt>
                <c:pt idx="46">
                  <c:v>5</c:v>
                </c:pt>
                <c:pt idx="47">
                  <c:v>6</c:v>
                </c:pt>
                <c:pt idx="48">
                  <c:v>9</c:v>
                </c:pt>
                <c:pt idx="49">
                  <c:v>2</c:v>
                </c:pt>
                <c:pt idx="50">
                  <c:v>0</c:v>
                </c:pt>
                <c:pt idx="51">
                  <c:v>8</c:v>
                </c:pt>
                <c:pt idx="52">
                  <c:v>1</c:v>
                </c:pt>
                <c:pt idx="53">
                  <c:v>3</c:v>
                </c:pt>
                <c:pt idx="54">
                  <c:v>2</c:v>
                </c:pt>
                <c:pt idx="55">
                  <c:v>3</c:v>
                </c:pt>
                <c:pt idx="56">
                  <c:v>1</c:v>
                </c:pt>
                <c:pt idx="57">
                  <c:v>1</c:v>
                </c:pt>
                <c:pt idx="58">
                  <c:v>5</c:v>
                </c:pt>
                <c:pt idx="59">
                  <c:v>16</c:v>
                </c:pt>
                <c:pt idx="60">
                  <c:v>12</c:v>
                </c:pt>
                <c:pt idx="61">
                  <c:v>16</c:v>
                </c:pt>
                <c:pt idx="62">
                  <c:v>21</c:v>
                </c:pt>
                <c:pt idx="63">
                  <c:v>7</c:v>
                </c:pt>
                <c:pt idx="64">
                  <c:v>4</c:v>
                </c:pt>
                <c:pt idx="65">
                  <c:v>21</c:v>
                </c:pt>
                <c:pt idx="66">
                  <c:v>8</c:v>
                </c:pt>
                <c:pt idx="67">
                  <c:v>38</c:v>
                </c:pt>
                <c:pt idx="68">
                  <c:v>28</c:v>
                </c:pt>
                <c:pt idx="69">
                  <c:v>42</c:v>
                </c:pt>
                <c:pt idx="70">
                  <c:v>21</c:v>
                </c:pt>
                <c:pt idx="71">
                  <c:v>19</c:v>
                </c:pt>
                <c:pt idx="72">
                  <c:v>39</c:v>
                </c:pt>
                <c:pt idx="73">
                  <c:v>35</c:v>
                </c:pt>
                <c:pt idx="74">
                  <c:v>35</c:v>
                </c:pt>
                <c:pt idx="75">
                  <c:v>29</c:v>
                </c:pt>
                <c:pt idx="76">
                  <c:v>23</c:v>
                </c:pt>
                <c:pt idx="77">
                  <c:v>34</c:v>
                </c:pt>
                <c:pt idx="78">
                  <c:v>12</c:v>
                </c:pt>
                <c:pt idx="79">
                  <c:v>33</c:v>
                </c:pt>
                <c:pt idx="80">
                  <c:v>35</c:v>
                </c:pt>
                <c:pt idx="81">
                  <c:v>42</c:v>
                </c:pt>
                <c:pt idx="82">
                  <c:v>16</c:v>
                </c:pt>
                <c:pt idx="83">
                  <c:v>30</c:v>
                </c:pt>
                <c:pt idx="84">
                  <c:v>11</c:v>
                </c:pt>
                <c:pt idx="85">
                  <c:v>4</c:v>
                </c:pt>
                <c:pt idx="86">
                  <c:v>26</c:v>
                </c:pt>
                <c:pt idx="87">
                  <c:v>35</c:v>
                </c:pt>
                <c:pt idx="88">
                  <c:v>36</c:v>
                </c:pt>
                <c:pt idx="89">
                  <c:v>33</c:v>
                </c:pt>
                <c:pt idx="90">
                  <c:v>27</c:v>
                </c:pt>
                <c:pt idx="91">
                  <c:v>10</c:v>
                </c:pt>
                <c:pt idx="92">
                  <c:v>9</c:v>
                </c:pt>
                <c:pt idx="93">
                  <c:v>20</c:v>
                </c:pt>
                <c:pt idx="94">
                  <c:v>23</c:v>
                </c:pt>
                <c:pt idx="95">
                  <c:v>13</c:v>
                </c:pt>
                <c:pt idx="96">
                  <c:v>12</c:v>
                </c:pt>
                <c:pt idx="97">
                  <c:v>12</c:v>
                </c:pt>
                <c:pt idx="98">
                  <c:v>5</c:v>
                </c:pt>
                <c:pt idx="99">
                  <c:v>1</c:v>
                </c:pt>
                <c:pt idx="100">
                  <c:v>12</c:v>
                </c:pt>
                <c:pt idx="101">
                  <c:v>12</c:v>
                </c:pt>
                <c:pt idx="102">
                  <c:v>8</c:v>
                </c:pt>
                <c:pt idx="103">
                  <c:v>12</c:v>
                </c:pt>
                <c:pt idx="104">
                  <c:v>14</c:v>
                </c:pt>
                <c:pt idx="105">
                  <c:v>6</c:v>
                </c:pt>
                <c:pt idx="106">
                  <c:v>3</c:v>
                </c:pt>
                <c:pt idx="107">
                  <c:v>17</c:v>
                </c:pt>
                <c:pt idx="108">
                  <c:v>14</c:v>
                </c:pt>
                <c:pt idx="109">
                  <c:v>4</c:v>
                </c:pt>
                <c:pt idx="110">
                  <c:v>6</c:v>
                </c:pt>
                <c:pt idx="111">
                  <c:v>4</c:v>
                </c:pt>
                <c:pt idx="112">
                  <c:v>3</c:v>
                </c:pt>
                <c:pt idx="113">
                  <c:v>2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7</c:v>
                </c:pt>
                <c:pt idx="118">
                  <c:v>8</c:v>
                </c:pt>
                <c:pt idx="119">
                  <c:v>8</c:v>
                </c:pt>
                <c:pt idx="120">
                  <c:v>1</c:v>
                </c:pt>
                <c:pt idx="121">
                  <c:v>10</c:v>
                </c:pt>
                <c:pt idx="122">
                  <c:v>14</c:v>
                </c:pt>
                <c:pt idx="123">
                  <c:v>15</c:v>
                </c:pt>
                <c:pt idx="124">
                  <c:v>12</c:v>
                </c:pt>
                <c:pt idx="125">
                  <c:v>10</c:v>
                </c:pt>
                <c:pt idx="126">
                  <c:v>0</c:v>
                </c:pt>
                <c:pt idx="127">
                  <c:v>6</c:v>
                </c:pt>
                <c:pt idx="128">
                  <c:v>13</c:v>
                </c:pt>
                <c:pt idx="129">
                  <c:v>20</c:v>
                </c:pt>
                <c:pt idx="130">
                  <c:v>16</c:v>
                </c:pt>
                <c:pt idx="131">
                  <c:v>13</c:v>
                </c:pt>
                <c:pt idx="132">
                  <c:v>19</c:v>
                </c:pt>
                <c:pt idx="133">
                  <c:v>9</c:v>
                </c:pt>
                <c:pt idx="134">
                  <c:v>3</c:v>
                </c:pt>
                <c:pt idx="135">
                  <c:v>29</c:v>
                </c:pt>
                <c:pt idx="136">
                  <c:v>36</c:v>
                </c:pt>
                <c:pt idx="137">
                  <c:v>27</c:v>
                </c:pt>
                <c:pt idx="138">
                  <c:v>44</c:v>
                </c:pt>
                <c:pt idx="139">
                  <c:v>14</c:v>
                </c:pt>
                <c:pt idx="140">
                  <c:v>7</c:v>
                </c:pt>
                <c:pt idx="141">
                  <c:v>7</c:v>
                </c:pt>
                <c:pt idx="142">
                  <c:v>32</c:v>
                </c:pt>
                <c:pt idx="143">
                  <c:v>25</c:v>
                </c:pt>
                <c:pt idx="144">
                  <c:v>22</c:v>
                </c:pt>
                <c:pt idx="145">
                  <c:v>21</c:v>
                </c:pt>
                <c:pt idx="146">
                  <c:v>20</c:v>
                </c:pt>
                <c:pt idx="147">
                  <c:v>16</c:v>
                </c:pt>
                <c:pt idx="148">
                  <c:v>15</c:v>
                </c:pt>
                <c:pt idx="149">
                  <c:v>32</c:v>
                </c:pt>
                <c:pt idx="150">
                  <c:v>21</c:v>
                </c:pt>
                <c:pt idx="151">
                  <c:v>38</c:v>
                </c:pt>
                <c:pt idx="152">
                  <c:v>42</c:v>
                </c:pt>
                <c:pt idx="153">
                  <c:v>51</c:v>
                </c:pt>
                <c:pt idx="154">
                  <c:v>22</c:v>
                </c:pt>
                <c:pt idx="155">
                  <c:v>10</c:v>
                </c:pt>
                <c:pt idx="156">
                  <c:v>60</c:v>
                </c:pt>
                <c:pt idx="157">
                  <c:v>51</c:v>
                </c:pt>
                <c:pt idx="158">
                  <c:v>44</c:v>
                </c:pt>
                <c:pt idx="159">
                  <c:v>45</c:v>
                </c:pt>
                <c:pt idx="160">
                  <c:v>47</c:v>
                </c:pt>
                <c:pt idx="161">
                  <c:v>42</c:v>
                </c:pt>
                <c:pt idx="162">
                  <c:v>7</c:v>
                </c:pt>
                <c:pt idx="163">
                  <c:v>87</c:v>
                </c:pt>
                <c:pt idx="164">
                  <c:v>106</c:v>
                </c:pt>
                <c:pt idx="165">
                  <c:v>95</c:v>
                </c:pt>
                <c:pt idx="166">
                  <c:v>110</c:v>
                </c:pt>
                <c:pt idx="167">
                  <c:v>120</c:v>
                </c:pt>
                <c:pt idx="168">
                  <c:v>65</c:v>
                </c:pt>
                <c:pt idx="169">
                  <c:v>37</c:v>
                </c:pt>
                <c:pt idx="170">
                  <c:v>133</c:v>
                </c:pt>
                <c:pt idx="171">
                  <c:v>218</c:v>
                </c:pt>
                <c:pt idx="172">
                  <c:v>199</c:v>
                </c:pt>
                <c:pt idx="173">
                  <c:v>251</c:v>
                </c:pt>
                <c:pt idx="174">
                  <c:v>237</c:v>
                </c:pt>
                <c:pt idx="175">
                  <c:v>117</c:v>
                </c:pt>
                <c:pt idx="176">
                  <c:v>102</c:v>
                </c:pt>
                <c:pt idx="177">
                  <c:v>273</c:v>
                </c:pt>
                <c:pt idx="178">
                  <c:v>351</c:v>
                </c:pt>
                <c:pt idx="179">
                  <c:v>338</c:v>
                </c:pt>
                <c:pt idx="180">
                  <c:v>278</c:v>
                </c:pt>
                <c:pt idx="181">
                  <c:v>353</c:v>
                </c:pt>
                <c:pt idx="182">
                  <c:v>295</c:v>
                </c:pt>
                <c:pt idx="183">
                  <c:v>135</c:v>
                </c:pt>
                <c:pt idx="184">
                  <c:v>447</c:v>
                </c:pt>
                <c:pt idx="185">
                  <c:v>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6C-4350-A198-757D4EB92D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,2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73">
                  <c:v>0</c:v>
                </c:pt>
                <c:pt idx="153">
                  <c:v>37</c:v>
                </c:pt>
                <c:pt idx="154">
                  <c:v>38</c:v>
                </c:pt>
                <c:pt idx="155">
                  <c:v>40</c:v>
                </c:pt>
                <c:pt idx="156">
                  <c:v>41</c:v>
                </c:pt>
                <c:pt idx="157">
                  <c:v>43</c:v>
                </c:pt>
                <c:pt idx="158">
                  <c:v>45</c:v>
                </c:pt>
                <c:pt idx="159">
                  <c:v>46</c:v>
                </c:pt>
                <c:pt idx="160">
                  <c:v>48</c:v>
                </c:pt>
                <c:pt idx="161">
                  <c:v>50</c:v>
                </c:pt>
                <c:pt idx="162">
                  <c:v>52</c:v>
                </c:pt>
                <c:pt idx="163">
                  <c:v>54</c:v>
                </c:pt>
                <c:pt idx="164">
                  <c:v>56</c:v>
                </c:pt>
                <c:pt idx="165">
                  <c:v>58</c:v>
                </c:pt>
                <c:pt idx="166">
                  <c:v>60</c:v>
                </c:pt>
                <c:pt idx="167">
                  <c:v>62</c:v>
                </c:pt>
                <c:pt idx="168">
                  <c:v>64</c:v>
                </c:pt>
                <c:pt idx="169">
                  <c:v>67</c:v>
                </c:pt>
                <c:pt idx="170">
                  <c:v>69</c:v>
                </c:pt>
                <c:pt idx="171">
                  <c:v>71</c:v>
                </c:pt>
                <c:pt idx="172">
                  <c:v>74</c:v>
                </c:pt>
                <c:pt idx="173">
                  <c:v>77</c:v>
                </c:pt>
                <c:pt idx="174">
                  <c:v>79</c:v>
                </c:pt>
                <c:pt idx="175">
                  <c:v>82</c:v>
                </c:pt>
                <c:pt idx="176">
                  <c:v>85</c:v>
                </c:pt>
                <c:pt idx="177">
                  <c:v>88</c:v>
                </c:pt>
                <c:pt idx="178">
                  <c:v>91</c:v>
                </c:pt>
                <c:pt idx="179">
                  <c:v>95</c:v>
                </c:pt>
                <c:pt idx="180">
                  <c:v>98</c:v>
                </c:pt>
                <c:pt idx="181">
                  <c:v>102</c:v>
                </c:pt>
                <c:pt idx="182">
                  <c:v>105</c:v>
                </c:pt>
                <c:pt idx="183">
                  <c:v>109</c:v>
                </c:pt>
                <c:pt idx="184">
                  <c:v>113</c:v>
                </c:pt>
                <c:pt idx="185">
                  <c:v>117</c:v>
                </c:pt>
                <c:pt idx="186">
                  <c:v>121</c:v>
                </c:pt>
                <c:pt idx="187">
                  <c:v>125</c:v>
                </c:pt>
                <c:pt idx="188">
                  <c:v>130</c:v>
                </c:pt>
                <c:pt idx="189">
                  <c:v>134</c:v>
                </c:pt>
                <c:pt idx="190">
                  <c:v>139</c:v>
                </c:pt>
                <c:pt idx="191">
                  <c:v>144</c:v>
                </c:pt>
                <c:pt idx="192">
                  <c:v>149</c:v>
                </c:pt>
                <c:pt idx="193">
                  <c:v>154</c:v>
                </c:pt>
                <c:pt idx="194">
                  <c:v>159</c:v>
                </c:pt>
                <c:pt idx="195">
                  <c:v>165</c:v>
                </c:pt>
                <c:pt idx="196">
                  <c:v>171</c:v>
                </c:pt>
                <c:pt idx="197">
                  <c:v>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6C-4350-A198-757D4EB92D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,3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>
                  <c:v>38</c:v>
                </c:pt>
                <c:pt idx="154">
                  <c:v>41</c:v>
                </c:pt>
                <c:pt idx="155">
                  <c:v>43</c:v>
                </c:pt>
                <c:pt idx="156">
                  <c:v>44</c:v>
                </c:pt>
                <c:pt idx="157">
                  <c:v>47</c:v>
                </c:pt>
                <c:pt idx="158">
                  <c:v>49</c:v>
                </c:pt>
                <c:pt idx="159">
                  <c:v>52</c:v>
                </c:pt>
                <c:pt idx="160">
                  <c:v>55</c:v>
                </c:pt>
                <c:pt idx="161">
                  <c:v>58</c:v>
                </c:pt>
                <c:pt idx="162">
                  <c:v>61</c:v>
                </c:pt>
                <c:pt idx="163">
                  <c:v>64</c:v>
                </c:pt>
                <c:pt idx="164">
                  <c:v>67</c:v>
                </c:pt>
                <c:pt idx="165">
                  <c:v>71</c:v>
                </c:pt>
                <c:pt idx="166">
                  <c:v>74</c:v>
                </c:pt>
                <c:pt idx="167">
                  <c:v>78</c:v>
                </c:pt>
                <c:pt idx="168">
                  <c:v>82</c:v>
                </c:pt>
                <c:pt idx="169">
                  <c:v>86</c:v>
                </c:pt>
                <c:pt idx="170">
                  <c:v>90</c:v>
                </c:pt>
                <c:pt idx="171">
                  <c:v>95</c:v>
                </c:pt>
                <c:pt idx="172">
                  <c:v>100</c:v>
                </c:pt>
                <c:pt idx="173">
                  <c:v>105</c:v>
                </c:pt>
                <c:pt idx="174">
                  <c:v>110</c:v>
                </c:pt>
                <c:pt idx="175">
                  <c:v>116</c:v>
                </c:pt>
                <c:pt idx="176">
                  <c:v>122</c:v>
                </c:pt>
                <c:pt idx="177">
                  <c:v>128</c:v>
                </c:pt>
                <c:pt idx="178">
                  <c:v>134</c:v>
                </c:pt>
                <c:pt idx="179">
                  <c:v>141</c:v>
                </c:pt>
                <c:pt idx="180">
                  <c:v>148</c:v>
                </c:pt>
                <c:pt idx="181">
                  <c:v>156</c:v>
                </c:pt>
                <c:pt idx="182">
                  <c:v>163</c:v>
                </c:pt>
                <c:pt idx="183">
                  <c:v>172</c:v>
                </c:pt>
                <c:pt idx="184">
                  <c:v>180</c:v>
                </c:pt>
                <c:pt idx="185">
                  <c:v>189</c:v>
                </c:pt>
                <c:pt idx="186">
                  <c:v>199</c:v>
                </c:pt>
                <c:pt idx="187">
                  <c:v>209</c:v>
                </c:pt>
                <c:pt idx="188">
                  <c:v>219</c:v>
                </c:pt>
                <c:pt idx="189">
                  <c:v>230</c:v>
                </c:pt>
                <c:pt idx="190">
                  <c:v>241</c:v>
                </c:pt>
                <c:pt idx="191">
                  <c:v>253</c:v>
                </c:pt>
                <c:pt idx="192">
                  <c:v>266</c:v>
                </c:pt>
                <c:pt idx="193">
                  <c:v>279</c:v>
                </c:pt>
                <c:pt idx="194">
                  <c:v>293</c:v>
                </c:pt>
                <c:pt idx="195">
                  <c:v>308</c:v>
                </c:pt>
                <c:pt idx="196">
                  <c:v>323</c:v>
                </c:pt>
                <c:pt idx="197">
                  <c:v>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6C-4350-A198-757D4EB92D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1,4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>
                  <c:v>40</c:v>
                </c:pt>
                <c:pt idx="154">
                  <c:v>43</c:v>
                </c:pt>
                <c:pt idx="155">
                  <c:v>45</c:v>
                </c:pt>
                <c:pt idx="156">
                  <c:v>48</c:v>
                </c:pt>
                <c:pt idx="157">
                  <c:v>51</c:v>
                </c:pt>
                <c:pt idx="158">
                  <c:v>54</c:v>
                </c:pt>
                <c:pt idx="159">
                  <c:v>58</c:v>
                </c:pt>
                <c:pt idx="160">
                  <c:v>62</c:v>
                </c:pt>
                <c:pt idx="161">
                  <c:v>66</c:v>
                </c:pt>
                <c:pt idx="162">
                  <c:v>70</c:v>
                </c:pt>
                <c:pt idx="163">
                  <c:v>75</c:v>
                </c:pt>
                <c:pt idx="164">
                  <c:v>80</c:v>
                </c:pt>
                <c:pt idx="165">
                  <c:v>85</c:v>
                </c:pt>
                <c:pt idx="166">
                  <c:v>91</c:v>
                </c:pt>
                <c:pt idx="167">
                  <c:v>97</c:v>
                </c:pt>
                <c:pt idx="168">
                  <c:v>103</c:v>
                </c:pt>
                <c:pt idx="169">
                  <c:v>109</c:v>
                </c:pt>
                <c:pt idx="170">
                  <c:v>117</c:v>
                </c:pt>
                <c:pt idx="171">
                  <c:v>124</c:v>
                </c:pt>
                <c:pt idx="172">
                  <c:v>132</c:v>
                </c:pt>
                <c:pt idx="173">
                  <c:v>141</c:v>
                </c:pt>
                <c:pt idx="174">
                  <c:v>150</c:v>
                </c:pt>
                <c:pt idx="175">
                  <c:v>160</c:v>
                </c:pt>
                <c:pt idx="176">
                  <c:v>170</c:v>
                </c:pt>
                <c:pt idx="177">
                  <c:v>181</c:v>
                </c:pt>
                <c:pt idx="178">
                  <c:v>193</c:v>
                </c:pt>
                <c:pt idx="179">
                  <c:v>205</c:v>
                </c:pt>
                <c:pt idx="180">
                  <c:v>218</c:v>
                </c:pt>
                <c:pt idx="181">
                  <c:v>232</c:v>
                </c:pt>
                <c:pt idx="182">
                  <c:v>247</c:v>
                </c:pt>
                <c:pt idx="183">
                  <c:v>263</c:v>
                </c:pt>
                <c:pt idx="184">
                  <c:v>280</c:v>
                </c:pt>
                <c:pt idx="185">
                  <c:v>298</c:v>
                </c:pt>
                <c:pt idx="186">
                  <c:v>317</c:v>
                </c:pt>
                <c:pt idx="187">
                  <c:v>337</c:v>
                </c:pt>
                <c:pt idx="188">
                  <c:v>359</c:v>
                </c:pt>
                <c:pt idx="189">
                  <c:v>382</c:v>
                </c:pt>
                <c:pt idx="190">
                  <c:v>406</c:v>
                </c:pt>
                <c:pt idx="191">
                  <c:v>432</c:v>
                </c:pt>
                <c:pt idx="192">
                  <c:v>460</c:v>
                </c:pt>
                <c:pt idx="193">
                  <c:v>489</c:v>
                </c:pt>
                <c:pt idx="194">
                  <c:v>520</c:v>
                </c:pt>
                <c:pt idx="195">
                  <c:v>553</c:v>
                </c:pt>
                <c:pt idx="196">
                  <c:v>589</c:v>
                </c:pt>
                <c:pt idx="197">
                  <c:v>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6C-4350-A198-757D4EB92D7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6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>
                  <c:v>40</c:v>
                </c:pt>
                <c:pt idx="154">
                  <c:v>43</c:v>
                </c:pt>
                <c:pt idx="155">
                  <c:v>45</c:v>
                </c:pt>
                <c:pt idx="156">
                  <c:v>48</c:v>
                </c:pt>
                <c:pt idx="157">
                  <c:v>51</c:v>
                </c:pt>
                <c:pt idx="158">
                  <c:v>54</c:v>
                </c:pt>
                <c:pt idx="159">
                  <c:v>58</c:v>
                </c:pt>
                <c:pt idx="160">
                  <c:v>62</c:v>
                </c:pt>
                <c:pt idx="161">
                  <c:v>66</c:v>
                </c:pt>
                <c:pt idx="162">
                  <c:v>70</c:v>
                </c:pt>
                <c:pt idx="163">
                  <c:v>75</c:v>
                </c:pt>
                <c:pt idx="164">
                  <c:v>85</c:v>
                </c:pt>
                <c:pt idx="165">
                  <c:v>94</c:v>
                </c:pt>
                <c:pt idx="166">
                  <c:v>102</c:v>
                </c:pt>
                <c:pt idx="167">
                  <c:v>109</c:v>
                </c:pt>
                <c:pt idx="168">
                  <c:v>119</c:v>
                </c:pt>
                <c:pt idx="169">
                  <c:v>130</c:v>
                </c:pt>
                <c:pt idx="170">
                  <c:v>143</c:v>
                </c:pt>
                <c:pt idx="171">
                  <c:v>157</c:v>
                </c:pt>
                <c:pt idx="172">
                  <c:v>170</c:v>
                </c:pt>
                <c:pt idx="173">
                  <c:v>185</c:v>
                </c:pt>
                <c:pt idx="174">
                  <c:v>201</c:v>
                </c:pt>
                <c:pt idx="175">
                  <c:v>220</c:v>
                </c:pt>
                <c:pt idx="176">
                  <c:v>241</c:v>
                </c:pt>
                <c:pt idx="177">
                  <c:v>263</c:v>
                </c:pt>
                <c:pt idx="178">
                  <c:v>286</c:v>
                </c:pt>
                <c:pt idx="179">
                  <c:v>312</c:v>
                </c:pt>
                <c:pt idx="180">
                  <c:v>340</c:v>
                </c:pt>
                <c:pt idx="181">
                  <c:v>371</c:v>
                </c:pt>
                <c:pt idx="182">
                  <c:v>405</c:v>
                </c:pt>
                <c:pt idx="183">
                  <c:v>442</c:v>
                </c:pt>
                <c:pt idx="184">
                  <c:v>481</c:v>
                </c:pt>
                <c:pt idx="185">
                  <c:v>493</c:v>
                </c:pt>
                <c:pt idx="186">
                  <c:v>520</c:v>
                </c:pt>
                <c:pt idx="187">
                  <c:v>557</c:v>
                </c:pt>
                <c:pt idx="188">
                  <c:v>602</c:v>
                </c:pt>
                <c:pt idx="189">
                  <c:v>642</c:v>
                </c:pt>
                <c:pt idx="190">
                  <c:v>681</c:v>
                </c:pt>
                <c:pt idx="191">
                  <c:v>720</c:v>
                </c:pt>
                <c:pt idx="192">
                  <c:v>762</c:v>
                </c:pt>
                <c:pt idx="193">
                  <c:v>814</c:v>
                </c:pt>
                <c:pt idx="194">
                  <c:v>870</c:v>
                </c:pt>
                <c:pt idx="195">
                  <c:v>927</c:v>
                </c:pt>
                <c:pt idx="196">
                  <c:v>983</c:v>
                </c:pt>
                <c:pt idx="197">
                  <c:v>1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76C-4350-A198-757D4EB9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4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0879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8822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94943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20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5183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065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59008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830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21305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110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46359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58696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52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38483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66338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20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934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598753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384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86783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8822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0426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460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719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Krátkodobé projekce vývoj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Střed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B4ECA94-5826-42D2-BAD1-DE3B69CA8FD8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C780A69-D94E-47FF-B50A-DD9CA90BE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04E2B7F-2EC1-48AD-8E63-E2935E488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EEAC62B5-FA3A-47C2-B02B-5B0DC11045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070442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D00C08D9-BA9B-468F-BBE5-BF6C41D97E1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CBC667C3-0D18-469A-B2B8-CEC383D039A2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se šipkou 31">
            <a:extLst>
              <a:ext uri="{FF2B5EF4-FFF2-40B4-BE49-F238E27FC236}">
                <a16:creationId xmlns:a16="http://schemas.microsoft.com/office/drawing/2014/main" id="{7E7F1BDB-061C-42C2-B689-FC9C945F0EE2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FF32F1EE-892B-44BB-867A-3DBA4A4C585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CE1285E9-60A5-477B-BC25-7C8EC984DB9A}"/>
              </a:ext>
            </a:extLst>
          </p:cNvPr>
          <p:cNvSpPr txBox="1"/>
          <p:nvPr/>
        </p:nvSpPr>
        <p:spPr>
          <a:xfrm>
            <a:off x="4451923" y="4146329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C5626CA9-0B73-4BD0-90BA-7B9BB0108F4E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772EDE18-ABC9-4DA5-B496-8EBF8764E73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E19B9E04-67BE-41C8-B4F8-75686FB051C0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6" name="Obdélník 55">
            <a:extLst>
              <a:ext uri="{FF2B5EF4-FFF2-40B4-BE49-F238E27FC236}">
                <a16:creationId xmlns:a16="http://schemas.microsoft.com/office/drawing/2014/main" id="{04103511-5558-4CD1-B3AE-769C491AEAE0}"/>
              </a:ext>
            </a:extLst>
          </p:cNvPr>
          <p:cNvSpPr/>
          <p:nvPr/>
        </p:nvSpPr>
        <p:spPr>
          <a:xfrm>
            <a:off x="4154743" y="419813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C9C2D651-A41D-4EF3-9087-DC36F3A5E8E4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098545EF-31AA-4D63-A452-CADFEB1640B8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E5CAB622-B166-4370-8076-B87AB7DC2DDD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D5CEA46-0931-40B0-B36F-7619692F2A6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B4EBC552-C2C6-42D2-A1EF-7FC2C1149F6A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01ADFF4-744D-4942-AFDF-C911FB31BC52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BF4563C2-101D-447A-B470-3E2C6941E9D4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53B8802B-947B-415E-B5B6-8764F9F3E390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174C383-C176-4843-B12A-5C40721276AC}"/>
              </a:ext>
            </a:extLst>
          </p:cNvPr>
          <p:cNvSpPr txBox="1"/>
          <p:nvPr/>
        </p:nvSpPr>
        <p:spPr>
          <a:xfrm>
            <a:off x="10356693" y="212910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4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33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00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08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65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33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F0B769-9E18-45F0-89C4-8D22EE771EAC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D960978-7BB1-42CA-95DD-3FE1D770A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B1A8ED9-4024-42AE-9EED-709A4416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182AE65E-DEFC-4B4F-B1D6-B8C73D044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069202"/>
              </p:ext>
            </p:extLst>
          </p:nvPr>
        </p:nvGraphicFramePr>
        <p:xfrm>
          <a:off x="219185" y="965405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8" name="TextBox 6">
            <a:extLst>
              <a:ext uri="{FF2B5EF4-FFF2-40B4-BE49-F238E27FC236}">
                <a16:creationId xmlns:a16="http://schemas.microsoft.com/office/drawing/2014/main" id="{291016E3-02E0-4576-A49D-8B2C2D43F645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CD9D82F-3ADE-4042-8152-26547273AE19}"/>
              </a:ext>
            </a:extLst>
          </p:cNvPr>
          <p:cNvSpPr txBox="1"/>
          <p:nvPr/>
        </p:nvSpPr>
        <p:spPr>
          <a:xfrm>
            <a:off x="11271281" y="490131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822E960-B842-490F-92DB-3DB1680B62BE}"/>
              </a:ext>
            </a:extLst>
          </p:cNvPr>
          <p:cNvSpPr txBox="1"/>
          <p:nvPr/>
        </p:nvSpPr>
        <p:spPr>
          <a:xfrm>
            <a:off x="11271282" y="534914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6ECFA6D-5AA7-4697-8EB7-F624FA0D4A9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83347AC-E94B-452E-B7BB-30E53AB33F80}"/>
              </a:ext>
            </a:extLst>
          </p:cNvPr>
          <p:cNvSpPr txBox="1"/>
          <p:nvPr/>
        </p:nvSpPr>
        <p:spPr>
          <a:xfrm>
            <a:off x="1931960" y="2284161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232CBD3-1488-4E26-93F3-C889D1E64DE4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46839AAF-7E8E-4AB0-B987-91BF057595A1}"/>
              </a:ext>
            </a:extLst>
          </p:cNvPr>
          <p:cNvSpPr/>
          <p:nvPr/>
        </p:nvSpPr>
        <p:spPr>
          <a:xfrm>
            <a:off x="1634779" y="233596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AC54F7DF-670F-4DE9-9E05-66C1B7FE0E1C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91B26C5-4510-4DAF-80E5-55472A92D44D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FE00FCC7-7343-41F6-9F63-4A223E45237A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D8272B20-97FE-42AE-9594-5006D846521B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E63E2D1C-8519-49D6-B5AE-4A0794C9AB54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D94E0FCD-0650-4A6E-855F-992DF61C5E0E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DA5B01FD-609C-4CD5-A114-93C979CB83EC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46A36F05-61F0-413C-8F34-1700134338CB}"/>
              </a:ext>
            </a:extLst>
          </p:cNvPr>
          <p:cNvSpPr txBox="1"/>
          <p:nvPr/>
        </p:nvSpPr>
        <p:spPr>
          <a:xfrm>
            <a:off x="7782220" y="125311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12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7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7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0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B427CBA7-88DB-4E6B-8BF9-F853A71D808F}"/>
              </a:ext>
            </a:extLst>
          </p:cNvPr>
          <p:cNvSpPr txBox="1"/>
          <p:nvPr/>
        </p:nvSpPr>
        <p:spPr>
          <a:xfrm>
            <a:off x="7285894" y="914556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483752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če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9B2F9A8-B201-4A43-927B-92767CAD080F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AEAF53BE-B74F-49C5-9A1D-EADC80700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6AEE8B5-DCDB-42AC-8BFE-3550B19619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74A7F76-2173-4639-81E0-7BFDFFE09F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073738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6DB92701-3394-421F-AEA7-8F9E23F54A44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43F7DD61-7B58-445E-9E11-D8E900D63741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01826AE9-9193-4F4A-B37F-5604B925F776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6">
            <a:extLst>
              <a:ext uri="{FF2B5EF4-FFF2-40B4-BE49-F238E27FC236}">
                <a16:creationId xmlns:a16="http://schemas.microsoft.com/office/drawing/2014/main" id="{5C7D4879-8D4F-4F64-AC90-6355DDF0946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DDAA99A-EF68-4F0D-8360-01A6600781EF}"/>
              </a:ext>
            </a:extLst>
          </p:cNvPr>
          <p:cNvSpPr txBox="1"/>
          <p:nvPr/>
        </p:nvSpPr>
        <p:spPr>
          <a:xfrm>
            <a:off x="4467521" y="413587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8097884D-C365-4560-BED2-04A760C2BAA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6FD3CA36-A4C7-4FE2-ACB4-313C822F36D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449F9850-B933-4322-ADFF-415284DBDF4F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8F3FB1-8F19-465F-A8B7-52E4D4988956}"/>
              </a:ext>
            </a:extLst>
          </p:cNvPr>
          <p:cNvSpPr/>
          <p:nvPr/>
        </p:nvSpPr>
        <p:spPr>
          <a:xfrm>
            <a:off x="4170341" y="418768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7EB56E2-AF4F-4931-8625-39E562F5054F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1D6C2867-F5E6-407A-8855-DE8149F1E07C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DF7F8A35-EB63-40D4-9A26-3E1739F1212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95118E7F-BAED-44F8-B643-206B9354C6D9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0CF8D93-42A5-4C67-ADAC-813726E49A15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9FD0BA9-F66C-4C7E-BFC1-AC81A66A3DE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BA58D38-6FA5-49DA-9DAC-6641C1C83783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41E4AEE0-CB5B-4F94-80D1-FFB363B55C06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2DE137EB-43FC-41ED-88A5-42FA5100F3B8}"/>
              </a:ext>
            </a:extLst>
          </p:cNvPr>
          <p:cNvSpPr txBox="1"/>
          <p:nvPr/>
        </p:nvSpPr>
        <p:spPr>
          <a:xfrm>
            <a:off x="10325883" y="2302148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55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93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50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64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312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4E56BAA-D2B6-477F-92E5-91C0FE4B889D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3DF257B-B72D-4A98-990E-9A7F81FB7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5F9C1474-D0A7-48EC-9CE7-C3A528AF6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A817F772-1398-44AE-8A9E-27BA3BC9F4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7308706"/>
              </p:ext>
            </p:extLst>
          </p:nvPr>
        </p:nvGraphicFramePr>
        <p:xfrm>
          <a:off x="290212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C2A8E74-22FB-46C4-9B5E-FF2199882A5D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88ABBC53-C650-4CB5-9EFD-2370B83A3062}"/>
              </a:ext>
            </a:extLst>
          </p:cNvPr>
          <p:cNvSpPr txBox="1"/>
          <p:nvPr/>
        </p:nvSpPr>
        <p:spPr>
          <a:xfrm>
            <a:off x="11340447" y="508778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9F1F2AE9-618D-4371-AA53-2386A938983A}"/>
              </a:ext>
            </a:extLst>
          </p:cNvPr>
          <p:cNvSpPr txBox="1"/>
          <p:nvPr/>
        </p:nvSpPr>
        <p:spPr>
          <a:xfrm>
            <a:off x="11340447" y="539773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FDB4222-C3CB-463D-B0F3-D2C63F3BAA2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5639945-0F54-4151-8592-34C75EF644A6}"/>
              </a:ext>
            </a:extLst>
          </p:cNvPr>
          <p:cNvSpPr txBox="1"/>
          <p:nvPr/>
        </p:nvSpPr>
        <p:spPr>
          <a:xfrm>
            <a:off x="1932799" y="2427954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5E42412E-1458-41FB-BBFF-A7CC63D5C76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6792F6D-E3A0-4F70-ADBF-769F1D9A0873}"/>
              </a:ext>
            </a:extLst>
          </p:cNvPr>
          <p:cNvSpPr/>
          <p:nvPr/>
        </p:nvSpPr>
        <p:spPr>
          <a:xfrm>
            <a:off x="1635618" y="247976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4405C6E-B78A-41E9-B22C-9F08F04F7E10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038B46A-715F-4F8D-956C-2440F699A430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DFB89589-BFE9-45F6-901D-B7A0675A09E4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C6019A60-6777-485F-B520-5F90CDD11EEE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DF10E7E-A45C-4DCF-B638-5A352E3E34EF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411B8840-C4E0-46F9-B7FD-84881A9364D1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215718AB-94FD-4697-B39B-620F0600FA1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FD1FD9F-FA0E-4C0B-BB4F-7C021F5AE523}"/>
              </a:ext>
            </a:extLst>
          </p:cNvPr>
          <p:cNvSpPr txBox="1"/>
          <p:nvPr/>
        </p:nvSpPr>
        <p:spPr>
          <a:xfrm>
            <a:off x="8450051" y="1031504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13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8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8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0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1D1B54CA-1E74-402E-B5A2-C944ADE9B9D3}"/>
              </a:ext>
            </a:extLst>
          </p:cNvPr>
          <p:cNvSpPr txBox="1"/>
          <p:nvPr/>
        </p:nvSpPr>
        <p:spPr>
          <a:xfrm>
            <a:off x="7935969" y="69295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494734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lzeň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62FD582-F127-4B26-8DD9-E7C97F101DA5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D95C4C7-A26F-406C-9CEE-DD7B32903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E1FE654C-29EB-40A0-B22D-E3EE463F2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5" name="Chart 4">
            <a:extLst>
              <a:ext uri="{FF2B5EF4-FFF2-40B4-BE49-F238E27FC236}">
                <a16:creationId xmlns:a16="http://schemas.microsoft.com/office/drawing/2014/main" id="{5D038867-9827-497F-BB93-3FFEA3734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6142942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210B33C2-6590-4DF8-B409-6A90B836A65D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0F9C5BEC-75DB-4B2E-B26E-DDEBCD242D2C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60475E54-9FCB-427B-8986-AE87EBE30965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ACA59DD8-B76A-4DF4-BF8B-4D8A7A874739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6B839D9A-BA55-493D-B0B6-FFA6B34307CF}"/>
              </a:ext>
            </a:extLst>
          </p:cNvPr>
          <p:cNvSpPr txBox="1"/>
          <p:nvPr/>
        </p:nvSpPr>
        <p:spPr>
          <a:xfrm>
            <a:off x="4470448" y="41379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0047291E-1904-448C-9782-EB0017511F3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35703CFF-CDEC-4D17-89E3-95C99BC602B3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607EAF4-6B49-4AFE-A33A-C2C83DEB957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6" name="Obdélník 55">
            <a:extLst>
              <a:ext uri="{FF2B5EF4-FFF2-40B4-BE49-F238E27FC236}">
                <a16:creationId xmlns:a16="http://schemas.microsoft.com/office/drawing/2014/main" id="{40AA1B24-61EF-413A-9CBD-006075ADCCD0}"/>
              </a:ext>
            </a:extLst>
          </p:cNvPr>
          <p:cNvSpPr/>
          <p:nvPr/>
        </p:nvSpPr>
        <p:spPr>
          <a:xfrm>
            <a:off x="4173268" y="41897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8A42C06A-5DCB-4E63-B556-59A26C772B85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73D5B7C5-C00B-452B-A675-94F8AE153B19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D910823-B87C-4D5A-A668-392314A67599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2F9C9F71-5526-4F22-831C-C5F33E63B13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8154912-CC49-48DE-AFD3-3E5492C81170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808C68E3-38D3-4FD4-9349-D1626AE754E1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4" name="TextovéPole 63">
            <a:extLst>
              <a:ext uri="{FF2B5EF4-FFF2-40B4-BE49-F238E27FC236}">
                <a16:creationId xmlns:a16="http://schemas.microsoft.com/office/drawing/2014/main" id="{153AD532-FE17-448F-BB91-495731511E31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5" name="Přímá spojnice 64">
            <a:extLst>
              <a:ext uri="{FF2B5EF4-FFF2-40B4-BE49-F238E27FC236}">
                <a16:creationId xmlns:a16="http://schemas.microsoft.com/office/drawing/2014/main" id="{EA285ACB-9F99-4C9E-98B7-C7CDFD5C755B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EF38F98-2393-4EA9-A1DD-566A86F72D50}"/>
              </a:ext>
            </a:extLst>
          </p:cNvPr>
          <p:cNvSpPr txBox="1"/>
          <p:nvPr/>
        </p:nvSpPr>
        <p:spPr>
          <a:xfrm>
            <a:off x="10099476" y="2601206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4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04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2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3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77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962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69A89A7-DAB2-440B-B308-CC59CEAFF99B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8D76F95-54CC-4BF7-9E50-277CA7F9C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05C61523-313B-457A-BE4A-AF29BAB1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61FF1AAF-B9A2-458B-9741-4247E17FFB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2133038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4" name="TextBox 6">
            <a:extLst>
              <a:ext uri="{FF2B5EF4-FFF2-40B4-BE49-F238E27FC236}">
                <a16:creationId xmlns:a16="http://schemas.microsoft.com/office/drawing/2014/main" id="{684CCF87-CC70-479D-ADC3-6E9E0F99A046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B8EC1509-4F26-4045-B315-DA57B28BFA72}"/>
              </a:ext>
            </a:extLst>
          </p:cNvPr>
          <p:cNvSpPr txBox="1"/>
          <p:nvPr/>
        </p:nvSpPr>
        <p:spPr>
          <a:xfrm>
            <a:off x="11589311" y="494137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440AC9D3-763F-400F-99DC-ED27E3DBAE0B}"/>
              </a:ext>
            </a:extLst>
          </p:cNvPr>
          <p:cNvSpPr txBox="1"/>
          <p:nvPr/>
        </p:nvSpPr>
        <p:spPr>
          <a:xfrm>
            <a:off x="11599020" y="533377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F5C76EA-91EE-4D5D-B984-81E5F286244F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0A43F2-5963-4B56-A93A-741B27A79AD4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B457735-F111-473D-A636-5641867AA835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DAA3BA8-6F80-4AAC-B5D0-0DBCAF6D7B7F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8F6C05C8-C495-43E6-B658-6309DD553D7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5D845F8-B6E7-4726-A6D2-508D6039B829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9883F0FC-1522-4506-96D2-E33EC7843DCE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2EF49B7E-05B3-49DD-A68E-356B911A2FB0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52FA79DD-3431-41C9-ACFA-DC3DC7CFB23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54A2D255-5089-4D8F-B490-3C09DF45D4D1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8537C9FF-9CD6-4105-9C56-89041B4DAC5C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C72C097-CBAD-48F7-8E9C-0EE713409275}"/>
              </a:ext>
            </a:extLst>
          </p:cNvPr>
          <p:cNvSpPr txBox="1"/>
          <p:nvPr/>
        </p:nvSpPr>
        <p:spPr>
          <a:xfrm>
            <a:off x="8687544" y="1078536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3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9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8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5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F5D4C474-BDF1-4DE0-B5C3-493B9E7607DF}"/>
              </a:ext>
            </a:extLst>
          </p:cNvPr>
          <p:cNvSpPr txBox="1"/>
          <p:nvPr/>
        </p:nvSpPr>
        <p:spPr>
          <a:xfrm>
            <a:off x="8200894" y="763475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333474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Karlovar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FBFC422-E236-4B21-AB38-11C2E04C46CE}"/>
              </a:ext>
            </a:extLst>
          </p:cNvPr>
          <p:cNvGrpSpPr/>
          <p:nvPr/>
        </p:nvGrpSpPr>
        <p:grpSpPr>
          <a:xfrm>
            <a:off x="10932032" y="591658"/>
            <a:ext cx="1158835" cy="360249"/>
            <a:chOff x="12375318" y="2247704"/>
            <a:chExt cx="1580446" cy="49131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D0D3736C-EAE3-484F-AA0F-92A696BFF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14B45D1E-2D06-41E6-A578-E0B71576A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AA678E63-6786-48FF-A3BC-E2ECA97836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0432704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61993AF7-E3D7-4CCB-BFF3-333B77C1D7B7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1E71497B-E6C6-47BA-B73D-F6B7ED30DD7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F07BC72E-7995-49F0-9D5B-1667A91DE11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21F081B-84F3-4BC7-91DF-37C96E34851F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48113B2C-2B76-47D9-BEC0-7F240C035C1F}"/>
              </a:ext>
            </a:extLst>
          </p:cNvPr>
          <p:cNvSpPr txBox="1"/>
          <p:nvPr/>
        </p:nvSpPr>
        <p:spPr>
          <a:xfrm>
            <a:off x="4451923" y="4224735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6C2E129F-2129-423F-92CB-485D38E022E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48288E22-9FEE-46BD-83E8-B5556516C1A3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FDD60D0-E0BA-434B-BA7F-0899D96B6083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AFFEE0C2-2851-4C21-A686-5C13250FDC48}"/>
              </a:ext>
            </a:extLst>
          </p:cNvPr>
          <p:cNvSpPr/>
          <p:nvPr/>
        </p:nvSpPr>
        <p:spPr>
          <a:xfrm>
            <a:off x="4154743" y="427654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AE449DA0-0470-4748-8941-AD6D44A88351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A6ABD531-EE16-4A55-81B7-83535F3A03AB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CFC2445D-55BD-418B-8C0D-55FE0154A443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A0C9399-E809-450A-AFD8-43B1569A0C09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271757E2-22F7-4D09-AC72-CBEC301200C8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589D3EA0-4444-4628-BA90-09161B3CE17D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89A3EA03-2A2B-4DD5-A251-22173E7B8728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48E13FEE-051A-478D-8435-17BDF37561E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B3365C8-CF93-4025-9477-80E6C485BBAA}"/>
              </a:ext>
            </a:extLst>
          </p:cNvPr>
          <p:cNvSpPr txBox="1"/>
          <p:nvPr/>
        </p:nvSpPr>
        <p:spPr>
          <a:xfrm>
            <a:off x="10184871" y="257557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4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44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4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7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41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9027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776E8261-2B67-4C33-B4F7-528BFCEC26E0}"/>
              </a:ext>
            </a:extLst>
          </p:cNvPr>
          <p:cNvGrpSpPr/>
          <p:nvPr/>
        </p:nvGrpSpPr>
        <p:grpSpPr>
          <a:xfrm>
            <a:off x="10932032" y="583269"/>
            <a:ext cx="1158835" cy="360249"/>
            <a:chOff x="12375318" y="2247704"/>
            <a:chExt cx="1580446" cy="49131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C6750D1-766B-4DC6-A446-888FBBECA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A8558FC-EC62-4A66-84EF-00BCCE678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526224FA-9FB7-4B1B-A3B8-F29890F54B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1244975"/>
              </p:ext>
            </p:extLst>
          </p:nvPr>
        </p:nvGraphicFramePr>
        <p:xfrm>
          <a:off x="254705" y="1205099"/>
          <a:ext cx="11354940" cy="57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FB01BA7-B3B3-43DD-A979-3DB4E10D06CE}"/>
              </a:ext>
            </a:extLst>
          </p:cNvPr>
          <p:cNvSpPr txBox="1"/>
          <p:nvPr/>
        </p:nvSpPr>
        <p:spPr>
          <a:xfrm rot="16200000">
            <a:off x="-1499672" y="3699517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AB4FD73-3EC5-4F0B-8CE3-063C5021AA9E}"/>
              </a:ext>
            </a:extLst>
          </p:cNvPr>
          <p:cNvSpPr txBox="1"/>
          <p:nvPr/>
        </p:nvSpPr>
        <p:spPr>
          <a:xfrm>
            <a:off x="11299031" y="481755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799379C0-2EB0-44E8-9795-0B0398F3DA95}"/>
              </a:ext>
            </a:extLst>
          </p:cNvPr>
          <p:cNvSpPr txBox="1"/>
          <p:nvPr/>
        </p:nvSpPr>
        <p:spPr>
          <a:xfrm>
            <a:off x="11284167" y="537943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836687-AA6B-496F-84C6-4B6D9D9B066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EAA020E-91F9-4B07-A7F1-978DB163A6E3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503B739-7A3B-4212-812E-F10BC7282D3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FB7FB9-0F92-4AB8-99EE-D1EAB767265F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D91DC5FD-D859-4DCF-A001-2CD89B4B47F9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5747E76-F141-4432-9B2A-0F65AF62AB1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787B2B25-C85C-4A09-8996-F7DB7B8BC56E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483CD473-4D09-4CA1-B4BF-52AFBAA488A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5C4C361-9ED6-4D34-87F5-4A1EE8661CD5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F97096D7-1030-4D9D-BD81-B5F89720E3E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489E8C72-C615-4B00-8846-A46A1623120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0C53F5C-9F68-4A3B-83B2-6E96CF263DA3}"/>
              </a:ext>
            </a:extLst>
          </p:cNvPr>
          <p:cNvSpPr txBox="1"/>
          <p:nvPr/>
        </p:nvSpPr>
        <p:spPr>
          <a:xfrm>
            <a:off x="8845011" y="152191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9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3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3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9CCD5BC9-5533-423B-B54F-AD0AA2926BDF}"/>
              </a:ext>
            </a:extLst>
          </p:cNvPr>
          <p:cNvSpPr txBox="1"/>
          <p:nvPr/>
        </p:nvSpPr>
        <p:spPr>
          <a:xfrm>
            <a:off x="8330929" y="121921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748728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Úst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5CA98E9-3F12-45A5-B245-E25115DAE662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1010AB9B-9544-4928-B356-5BDE371FA8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862A44F-3ED3-415B-B88C-C1161FBFD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7ABFEE1-0546-4345-AE0D-B2F2EED923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2068662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0410593E-6D0B-495E-A647-4F741027F05E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3396E37C-3C60-4684-A9D2-D8EBF4EF0F0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54774B8F-4AEB-4934-BBDF-772715C1D91D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A22FC7D-E044-4FA8-830B-A6504E1CA73E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0117593F-084F-4E1C-8153-8FBDA90AD48A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C4C71D97-F7C4-457B-B463-61371EA2C49F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D9EC83CF-5363-4B04-9134-AFDA6237571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87CA900B-9471-48F3-ACBC-971EEE14E6D9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0EBB5726-F1BA-459E-A406-ACEDD68477C8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23B712B-7548-44FF-B4D1-BD6795E51D85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2CD4F10-001D-4594-AC85-91EA2EC3CC74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35D4DE7-A10E-4931-A817-3C6A6B970B45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0F290B24-DE69-47C0-BE7D-1029288B91A3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BA263637-CF87-4EE2-9381-CD9224367C46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79FD1AAC-8445-48F1-9851-CD0CE3BE926C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2D150332-1DD7-4882-9719-EE98A4537E07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BF3E75E1-D60E-48AE-BE3D-A4AF1386EC08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289C069-B0D1-4F69-8242-7C76FDB4F2B9}"/>
              </a:ext>
            </a:extLst>
          </p:cNvPr>
          <p:cNvSpPr txBox="1"/>
          <p:nvPr/>
        </p:nvSpPr>
        <p:spPr>
          <a:xfrm>
            <a:off x="10433800" y="2462133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35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1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4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29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172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6F6FC35-B8B3-4DB0-86D7-49EAD913D3DA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3" name="Picture 2">
              <a:extLst>
                <a:ext uri="{FF2B5EF4-FFF2-40B4-BE49-F238E27FC236}">
                  <a16:creationId xmlns:a16="http://schemas.microsoft.com/office/drawing/2014/main" id="{FBF10BED-F1F7-4361-BEC4-47E381B673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BB15BC3C-9CDB-4C5F-A62C-DE2A8D4D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7ADD7188-A0C7-4A07-8FED-860A600B8A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7012796"/>
              </p:ext>
            </p:extLst>
          </p:nvPr>
        </p:nvGraphicFramePr>
        <p:xfrm>
          <a:off x="556549" y="1311634"/>
          <a:ext cx="11354940" cy="5605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91F6454-ECF1-41FD-B341-F22744CEB1AB}"/>
              </a:ext>
            </a:extLst>
          </p:cNvPr>
          <p:cNvSpPr txBox="1"/>
          <p:nvPr/>
        </p:nvSpPr>
        <p:spPr>
          <a:xfrm rot="16200000">
            <a:off x="-1263868" y="368992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98A62AAF-2CB0-4E8B-91BA-4B8965255F3A}"/>
              </a:ext>
            </a:extLst>
          </p:cNvPr>
          <p:cNvSpPr txBox="1"/>
          <p:nvPr/>
        </p:nvSpPr>
        <p:spPr>
          <a:xfrm>
            <a:off x="11611832" y="4475733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4D4B02-CC39-426C-83D8-65A9DD8A16E6}"/>
              </a:ext>
            </a:extLst>
          </p:cNvPr>
          <p:cNvSpPr txBox="1"/>
          <p:nvPr/>
        </p:nvSpPr>
        <p:spPr>
          <a:xfrm>
            <a:off x="11611833" y="517703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038BBE9-3C3D-4D78-A653-665110142D6D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81368BD-A7DC-4B2E-B95D-37136848F0BB}"/>
              </a:ext>
            </a:extLst>
          </p:cNvPr>
          <p:cNvSpPr txBox="1"/>
          <p:nvPr/>
        </p:nvSpPr>
        <p:spPr>
          <a:xfrm>
            <a:off x="1931960" y="2361891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18B22E1-9122-47B6-BC5C-F9B4B29E17C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941B825-5F39-4538-9C9D-DDD417736510}"/>
              </a:ext>
            </a:extLst>
          </p:cNvPr>
          <p:cNvSpPr/>
          <p:nvPr/>
        </p:nvSpPr>
        <p:spPr>
          <a:xfrm>
            <a:off x="1634779" y="241369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93801255-B20E-45AF-AE06-7D65B34EDCB6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F132FA3-CF4B-4F66-98C7-7B3200DAECD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871E284-E48F-4734-9B63-665834F667B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BBCA01D1-1AF4-4B74-8641-FD514992C3B6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F40F692-AAFF-42DF-8B73-E1FE94C836B4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1BD8CAE7-9E70-4106-998C-E82CB0E09A6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0440A4D-C754-4D5C-AF27-063C6CE4C3F6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DC2EF59-82F3-4067-8C85-12C30E9EEF50}"/>
              </a:ext>
            </a:extLst>
          </p:cNvPr>
          <p:cNvSpPr txBox="1"/>
          <p:nvPr/>
        </p:nvSpPr>
        <p:spPr>
          <a:xfrm>
            <a:off x="8134382" y="1008038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78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6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6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4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EE7CD40-1486-4482-98BC-A94A462FDF1A}"/>
              </a:ext>
            </a:extLst>
          </p:cNvPr>
          <p:cNvSpPr txBox="1"/>
          <p:nvPr/>
        </p:nvSpPr>
        <p:spPr>
          <a:xfrm>
            <a:off x="7642583" y="678474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2281811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Stav a vývoj epidemie COVID-19 </a:t>
            </a:r>
            <a:br>
              <a:rPr lang="cs-CZ" b="1" dirty="0"/>
            </a:br>
            <a:r>
              <a:rPr lang="cs-CZ" b="1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rojekce vývoje</a:t>
            </a:r>
            <a:endParaRPr lang="en-US" sz="4800" b="1" dirty="0"/>
          </a:p>
          <a:p>
            <a:r>
              <a:rPr lang="en-US" sz="3200" b="1" i="1" dirty="0">
                <a:solidFill>
                  <a:srgbClr val="C00000"/>
                </a:solidFill>
              </a:rPr>
              <a:t>- </a:t>
            </a:r>
            <a:r>
              <a:rPr lang="cs-CZ" sz="3200" b="1" i="1" dirty="0">
                <a:solidFill>
                  <a:srgbClr val="C00000"/>
                </a:solidFill>
              </a:rPr>
              <a:t>aktualizace k 3. 11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5172114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Liber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F95AB3A1-66AD-4F90-923E-58DA24A2ACA2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3D1087B-18D3-433E-AF83-05324266E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F8F3D312-CF77-42CC-B5A2-88110AB3AB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350C6DE2-4202-47BE-AF2A-698310748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329561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A65D95F8-76E9-4930-A832-F2A89889B16F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60B55CD8-B7EF-4E93-954A-194B3DE94B6C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FBFD658A-29BB-451F-A871-85C153313B5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B6E7CB9B-ACE6-4826-A623-EBCCD08E8A59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BBD6F85C-0FD5-4AB1-A25C-21D4CF95FA3D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FEA0BB8-C3AD-40A8-BBB6-8E5902BE6C28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ECF72E2B-9FC8-46A1-B913-750DEA03AC04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7D24118-3AA3-4672-AE77-D15C37FC3729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0B4D959E-CF85-4ADE-BD3D-6FA808D1B6C1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F707907A-F260-49C1-BD81-2F975A30769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2F001903-CAC9-4428-8818-0B4A5FD88E18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B9497E6-662F-4EC1-891B-BC79DB01B395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90F8B26D-3052-41B0-ADF4-D86CA00BD44E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84465883-F63C-42C7-A5C1-D75920E452BB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9658024-9869-4FED-ACB3-72A41CC16224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5CA2E166-9C10-499B-8F9E-FD18D119F619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76E0BC37-3A0C-49C3-9819-5F3EEF5171B3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F6AFD6B-DCE3-4BD5-A7DD-AC51B458036D}"/>
              </a:ext>
            </a:extLst>
          </p:cNvPr>
          <p:cNvSpPr txBox="1"/>
          <p:nvPr/>
        </p:nvSpPr>
        <p:spPr>
          <a:xfrm>
            <a:off x="10367102" y="2759344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29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7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9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0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883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04EFF0C-23FB-42AD-AEDA-D4E2F71D7EAF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72BD359C-46FF-4AE5-B2AC-A55CC70B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E0A22C9F-3AA6-457E-A4B4-E3CA746D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F0F55FC0-C606-4D15-BF4E-C2FBB0F7F0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9174702"/>
              </p:ext>
            </p:extLst>
          </p:nvPr>
        </p:nvGraphicFramePr>
        <p:xfrm>
          <a:off x="556549" y="1107448"/>
          <a:ext cx="11354940" cy="5856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396DEBCA-8F02-43C3-A911-99A2EDCFB3EE}"/>
              </a:ext>
            </a:extLst>
          </p:cNvPr>
          <p:cNvSpPr txBox="1"/>
          <p:nvPr/>
        </p:nvSpPr>
        <p:spPr>
          <a:xfrm rot="16200000">
            <a:off x="-1254283" y="366852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3AA691C-1082-4835-B251-C20745982F19}"/>
              </a:ext>
            </a:extLst>
          </p:cNvPr>
          <p:cNvSpPr txBox="1"/>
          <p:nvPr/>
        </p:nvSpPr>
        <p:spPr>
          <a:xfrm>
            <a:off x="11599180" y="457797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8FBA8AA3-8600-47F6-805F-2BEB6834F1EB}"/>
              </a:ext>
            </a:extLst>
          </p:cNvPr>
          <p:cNvSpPr txBox="1"/>
          <p:nvPr/>
        </p:nvSpPr>
        <p:spPr>
          <a:xfrm>
            <a:off x="11599181" y="5233852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D6E3C7B-810A-4EFD-B252-31378F662F10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B17D827-8973-493A-8606-D250BCD7A4D7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A8BAF88-3289-4529-983E-F536645ADCD6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D3F41B4C-6A69-40A1-AC66-383E70DA4A3A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B6267664-5FBE-471E-89B4-91BEE4BB8CA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4278E557-BB79-4304-9D83-34FBB9D1F81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3C794FC5-8CD6-4F12-9801-F157CAD715F9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BAAC616A-8C7F-448C-8E74-255303617F15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D7C0B47-DC27-4D04-8F0E-32ADA4724298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2D9413C4-D712-4B22-8A82-028293645850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9FC04F1-3031-4213-AA63-0D032B89F56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FEF214E-1DC0-4CC3-8FDA-A1698E65EFF5}"/>
              </a:ext>
            </a:extLst>
          </p:cNvPr>
          <p:cNvSpPr txBox="1"/>
          <p:nvPr/>
        </p:nvSpPr>
        <p:spPr>
          <a:xfrm>
            <a:off x="9449500" y="123132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1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8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0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C80B462-0A47-4A68-BA3F-970316384BD6}"/>
              </a:ext>
            </a:extLst>
          </p:cNvPr>
          <p:cNvSpPr txBox="1"/>
          <p:nvPr/>
        </p:nvSpPr>
        <p:spPr>
          <a:xfrm>
            <a:off x="8962850" y="91626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9086874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álovehrade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BFD197E-F2C5-4B7D-B7BD-52FB0F4EF96B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E01F0A6-C4DC-4FF9-9B0D-9C156F25A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30152D4-3604-4139-9F59-BD82B1CBC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BDD8FB6-42C3-4F57-BC47-02A0CD286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956085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2A81510A-8A9F-4A5E-BA9F-118347704330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BA0CA6F4-6EA7-416D-B905-A7E80B0598D7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D1872954-9636-4F90-A73F-065BCEEE6C94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774855CC-7410-4454-A0E5-26E0FBB52840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9098A5BA-F8D6-4BA8-8ABD-5A0FC3AD1482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DEADB98-9D66-4A3E-A172-E24F83ACA5EC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4067408-1BC3-4369-9564-100E5582213B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B7C9BB27-C9DD-4123-B302-E48F3FB85387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6EEEEA24-00B6-4E1C-BEF2-40DDC69CFD15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09A9C356-ABBC-4485-A382-D311D020DF59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462E4F76-4F69-4906-A236-C20A9D5B4FB7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404BDEA-EBEF-4890-8DC7-BAF979B16AA2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7A2235A-8B96-4E92-BAFD-035ACAFE3577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764155E5-CFEA-4150-BCF0-673F21928B4F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673335B3-2944-4BED-87BF-803BAFFE409C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0EAB2EEF-B3D9-4CA3-8CCE-A151FFEE154D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78F9A979-D42F-4FD0-AE7A-7541720E66F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DD75A25-88A7-417D-9D8B-63DF827EAD2C}"/>
              </a:ext>
            </a:extLst>
          </p:cNvPr>
          <p:cNvSpPr txBox="1"/>
          <p:nvPr/>
        </p:nvSpPr>
        <p:spPr>
          <a:xfrm>
            <a:off x="10447276" y="2411358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6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2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2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62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0937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226E652-89AF-46A8-B871-CBB7F7FF0671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83466CA5-04E0-48E3-992E-6C7EC4F2C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FD6B49AF-CC89-4B61-8EA0-3044D43B4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E11C7E6A-76F6-4635-8C39-3298326136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8650854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EF14F428-5305-4FF8-85C7-79367A4B150C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052A5299-3729-43ED-826C-08F52712B773}"/>
              </a:ext>
            </a:extLst>
          </p:cNvPr>
          <p:cNvSpPr txBox="1"/>
          <p:nvPr/>
        </p:nvSpPr>
        <p:spPr>
          <a:xfrm>
            <a:off x="11581268" y="425355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096E2C6D-D5FF-40AE-853F-7EDB5942F0EC}"/>
              </a:ext>
            </a:extLst>
          </p:cNvPr>
          <p:cNvSpPr txBox="1"/>
          <p:nvPr/>
        </p:nvSpPr>
        <p:spPr>
          <a:xfrm>
            <a:off x="11581268" y="50042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CA3F5BF2-37F0-4A49-BA51-11FB893EDDB7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AD265DA7-7050-4BBC-978E-F0680AB7C1A3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3F6EDEA7-E99C-48D4-AA1B-DAFACE5240F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68C6D798-9C41-4C54-9CD0-47A3C0D03C81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7AB8B674-4A2C-4078-979E-A8A672160F0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D0F350C-88EC-4A89-AB8D-5CD0D065C441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B90DA31-C7AF-4917-A186-6A4A72A6AEB8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7F151813-4787-4277-ABC2-9E2E501128A3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3C4556C8-B175-479B-9A89-9752DB1D695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AC50B8FE-72C0-436D-8E9C-855D160CBA73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EA4F2163-72DC-44AB-87B5-98DBDC5E0031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A59316A4-07FF-4CB9-9BBE-D1B123118A1A}"/>
              </a:ext>
            </a:extLst>
          </p:cNvPr>
          <p:cNvSpPr txBox="1"/>
          <p:nvPr/>
        </p:nvSpPr>
        <p:spPr>
          <a:xfrm>
            <a:off x="9130219" y="1256702"/>
            <a:ext cx="1945049" cy="11849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1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8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0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8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5B64A66-480F-43B7-B275-A0BC72B131BD}"/>
              </a:ext>
            </a:extLst>
          </p:cNvPr>
          <p:cNvSpPr txBox="1"/>
          <p:nvPr/>
        </p:nvSpPr>
        <p:spPr>
          <a:xfrm>
            <a:off x="8643569" y="941641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39086361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Pardubický</a:t>
            </a:r>
            <a:r>
              <a:rPr lang="cs-CZ" dirty="0">
                <a:latin typeface="+mj-lt"/>
              </a:rPr>
              <a:t>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D933C75-0B2E-45EA-B755-81A1E6641817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EF69E19-EE3C-4047-A2AC-1A0D5D72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36185778-910C-4229-A69C-9D28E2309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217BEEF9-B63A-45BA-B16A-80913AB157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6108299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2" name="TextovéPole 61">
            <a:extLst>
              <a:ext uri="{FF2B5EF4-FFF2-40B4-BE49-F238E27FC236}">
                <a16:creationId xmlns:a16="http://schemas.microsoft.com/office/drawing/2014/main" id="{1869EEF6-371B-4D69-B90F-1BDC30E4D581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63" name="Přímá spojnice se šipkou 62">
            <a:extLst>
              <a:ext uri="{FF2B5EF4-FFF2-40B4-BE49-F238E27FC236}">
                <a16:creationId xmlns:a16="http://schemas.microsoft.com/office/drawing/2014/main" id="{12AA8D94-D96B-4B06-BD10-76E7133991D9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Přímá spojnice se šipkou 63">
            <a:extLst>
              <a:ext uri="{FF2B5EF4-FFF2-40B4-BE49-F238E27FC236}">
                <a16:creationId xmlns:a16="http://schemas.microsoft.com/office/drawing/2014/main" id="{4E4111F4-DE24-4A20-A14E-EF97FB88D288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">
            <a:extLst>
              <a:ext uri="{FF2B5EF4-FFF2-40B4-BE49-F238E27FC236}">
                <a16:creationId xmlns:a16="http://schemas.microsoft.com/office/drawing/2014/main" id="{851AE6CC-B43D-49F0-AC28-3E677C205F25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ovéPole 69">
            <a:extLst>
              <a:ext uri="{FF2B5EF4-FFF2-40B4-BE49-F238E27FC236}">
                <a16:creationId xmlns:a16="http://schemas.microsoft.com/office/drawing/2014/main" id="{2DB9CDDC-6A7C-4D4B-8550-9D73BE9F5D97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bdélník 70">
            <a:extLst>
              <a:ext uri="{FF2B5EF4-FFF2-40B4-BE49-F238E27FC236}">
                <a16:creationId xmlns:a16="http://schemas.microsoft.com/office/drawing/2014/main" id="{7C32DB2C-07DD-4BDB-98F8-4CD5DABEAA50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72" name="TextovéPole 71">
            <a:extLst>
              <a:ext uri="{FF2B5EF4-FFF2-40B4-BE49-F238E27FC236}">
                <a16:creationId xmlns:a16="http://schemas.microsoft.com/office/drawing/2014/main" id="{B1815E93-02B1-492A-82DA-986D2D0A7BF6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19429C87-77EE-4C8F-93C4-BADD00A3D7A4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74" name="Obdélník 73">
            <a:extLst>
              <a:ext uri="{FF2B5EF4-FFF2-40B4-BE49-F238E27FC236}">
                <a16:creationId xmlns:a16="http://schemas.microsoft.com/office/drawing/2014/main" id="{4BD498D2-2396-42F9-BFB6-368EEF7F0075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290DAAFF-A2FF-4EDA-A386-4E9E3A8E1F9A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76" name="Přímá spojnice 75">
            <a:extLst>
              <a:ext uri="{FF2B5EF4-FFF2-40B4-BE49-F238E27FC236}">
                <a16:creationId xmlns:a16="http://schemas.microsoft.com/office/drawing/2014/main" id="{F0D0FB6A-6EAE-45E6-BAD5-51FA82B07B24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7" name="TextovéPole 76">
            <a:extLst>
              <a:ext uri="{FF2B5EF4-FFF2-40B4-BE49-F238E27FC236}">
                <a16:creationId xmlns:a16="http://schemas.microsoft.com/office/drawing/2014/main" id="{FB97DE9E-73AE-460B-AE35-02EDDF120BE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78" name="Přímá spojnice 77">
            <a:extLst>
              <a:ext uri="{FF2B5EF4-FFF2-40B4-BE49-F238E27FC236}">
                <a16:creationId xmlns:a16="http://schemas.microsoft.com/office/drawing/2014/main" id="{A1E97491-7D62-42BA-AEC3-D1BA8FC39A8B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79" name="Přímá spojnice 78">
            <a:extLst>
              <a:ext uri="{FF2B5EF4-FFF2-40B4-BE49-F238E27FC236}">
                <a16:creationId xmlns:a16="http://schemas.microsoft.com/office/drawing/2014/main" id="{10F1A9E5-3BF4-47DB-BE2D-C4DB4B64C124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4948C7D5-8854-49AC-8008-DC8B0AD9E6C1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81" name="TextovéPole 80">
            <a:extLst>
              <a:ext uri="{FF2B5EF4-FFF2-40B4-BE49-F238E27FC236}">
                <a16:creationId xmlns:a16="http://schemas.microsoft.com/office/drawing/2014/main" id="{6165F393-B2BA-42BB-B537-CD2656BEF8DB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82" name="Přímá spojnice 81">
            <a:extLst>
              <a:ext uri="{FF2B5EF4-FFF2-40B4-BE49-F238E27FC236}">
                <a16:creationId xmlns:a16="http://schemas.microsoft.com/office/drawing/2014/main" id="{D6EFD606-FF34-403F-8F3D-A0350E35F56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0028A57-802F-45F6-A37D-816A46126393}"/>
              </a:ext>
            </a:extLst>
          </p:cNvPr>
          <p:cNvSpPr txBox="1"/>
          <p:nvPr/>
        </p:nvSpPr>
        <p:spPr>
          <a:xfrm>
            <a:off x="10469306" y="238518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4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4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8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0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8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290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F377A2F-C0A0-43DA-9280-A19B6E371AAC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96CE1EA5-E85C-4BA1-A52A-9C4BEA2AE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92DB6C9-71F1-4520-8565-7AC5680D0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2738ECA-1575-4A74-98C0-08768BA57C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1669392"/>
              </p:ext>
            </p:extLst>
          </p:nvPr>
        </p:nvGraphicFramePr>
        <p:xfrm>
          <a:off x="556549" y="1245252"/>
          <a:ext cx="11354940" cy="5718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2C37561-D852-438F-BDBC-ECAC3B295F08}"/>
              </a:ext>
            </a:extLst>
          </p:cNvPr>
          <p:cNvSpPr txBox="1"/>
          <p:nvPr/>
        </p:nvSpPr>
        <p:spPr>
          <a:xfrm rot="16200000">
            <a:off x="-1483263" y="373797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2FED545D-D2B6-4096-A040-75D6513AE399}"/>
              </a:ext>
            </a:extLst>
          </p:cNvPr>
          <p:cNvSpPr txBox="1"/>
          <p:nvPr/>
        </p:nvSpPr>
        <p:spPr>
          <a:xfrm>
            <a:off x="11626184" y="481257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10AA5AAA-33EA-44C1-9F56-BBE35D5B4D3C}"/>
              </a:ext>
            </a:extLst>
          </p:cNvPr>
          <p:cNvSpPr txBox="1"/>
          <p:nvPr/>
        </p:nvSpPr>
        <p:spPr>
          <a:xfrm>
            <a:off x="11635451" y="534104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AA3A277-8DA5-4AA3-B41B-E2AF8A4A584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61140FC-8202-4270-B693-2B8CE32B9077}"/>
              </a:ext>
            </a:extLst>
          </p:cNvPr>
          <p:cNvSpPr txBox="1"/>
          <p:nvPr/>
        </p:nvSpPr>
        <p:spPr>
          <a:xfrm>
            <a:off x="1934396" y="2308079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38F1030-72E9-4E78-B347-2BD6465B262C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D867E7D4-5C7B-4F83-8567-33ED25E6CDA7}"/>
              </a:ext>
            </a:extLst>
          </p:cNvPr>
          <p:cNvSpPr/>
          <p:nvPr/>
        </p:nvSpPr>
        <p:spPr>
          <a:xfrm>
            <a:off x="1637215" y="235988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E06E883E-DFE5-4B6B-9A06-1FFEBD5CA792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8FDB3D0-C511-4BBC-9016-4830C48C0403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C529E633-8EDB-45F5-A35C-29EF0F452A8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A34F30FA-0309-4CDB-BE86-C6B6DF50E579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C3099AC6-87E1-4BBD-A6E8-0A4ED23E4319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0CCE3EE6-53FC-4AA8-B4EF-96903041339D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7BFED617-7F15-42FE-9245-2B818096BE5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15396C9B-FFE5-4691-A928-F987ADA0C06B}"/>
              </a:ext>
            </a:extLst>
          </p:cNvPr>
          <p:cNvSpPr txBox="1"/>
          <p:nvPr/>
        </p:nvSpPr>
        <p:spPr>
          <a:xfrm>
            <a:off x="8407374" y="1191104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7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45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9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5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71245B40-21B7-49CB-A3D3-806253A70C94}"/>
              </a:ext>
            </a:extLst>
          </p:cNvPr>
          <p:cNvSpPr txBox="1"/>
          <p:nvPr/>
        </p:nvSpPr>
        <p:spPr>
          <a:xfrm>
            <a:off x="7920724" y="876043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31212270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</a:t>
            </a:r>
            <a:r>
              <a:rPr lang="cs-CZ" dirty="0"/>
              <a:t>Kraj Vysočina</a:t>
            </a:r>
            <a:endParaRPr lang="cs-CZ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02642BDA-1FDB-47A2-98F0-CA96CB016C7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661A478B-313E-4DF4-805B-E2DD7B1A7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B01192-C0C6-43BD-A9B4-27A4329DA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57E97467-751F-4A4D-B0BC-D83F0C23E0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74572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382048EF-2080-4A3B-A1C8-61F471D5A6C1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9010271A-17ED-4A5B-A0EB-2876F47501E6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634E779B-3AE5-4523-A534-CCE646D9C823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4445F16F-875D-409C-8882-2FF72EDDA351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644A0DF8-96DA-48FE-AD39-FADFECF26AA8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59A27A9E-CDD1-4C16-93E2-5EE9A9CC153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6966058D-27FD-4774-8A6C-62E0B30D9DF7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035B6880-0BB3-4C62-A03C-C9321C5D71E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F1855FF5-1797-40B9-8E6D-4378E0A4EBFA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5CC97295-5606-4C7F-A38F-3898868D4A81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C3015565-9F6A-4CEA-B06F-45C8E2BE59C6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331BF305-AD8F-402A-BF29-BED7285C2731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DA2EA607-72F9-4EE4-ACBE-45D0BC3E5250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02B4D22A-4A6E-473A-A5E6-CAAA96C97CE6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E33272B8-D470-4C1B-99CA-8A6349CC62B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538AEC3F-6AA8-4B43-B977-5B4D13FA4B8C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F0B25901-7CDA-42B5-8984-0E31F8A17A54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B835F55-7D0D-4876-A8EF-9032D56B1111}"/>
              </a:ext>
            </a:extLst>
          </p:cNvPr>
          <p:cNvSpPr txBox="1"/>
          <p:nvPr/>
        </p:nvSpPr>
        <p:spPr>
          <a:xfrm>
            <a:off x="10364716" y="267757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63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8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0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7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2011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C53EB4-047F-4BDD-9F41-C7898B74C223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76E9F58-02CD-47B0-ACBE-3019FA90C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F5A6C2A-6C78-4598-A1BB-FA9E298C7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105DE481-3169-4194-9086-AF1D559392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7397829"/>
              </p:ext>
            </p:extLst>
          </p:nvPr>
        </p:nvGraphicFramePr>
        <p:xfrm>
          <a:off x="556549" y="1320754"/>
          <a:ext cx="11354940" cy="560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CC4E932E-28C4-4B88-A459-14EFF72D3F25}"/>
              </a:ext>
            </a:extLst>
          </p:cNvPr>
          <p:cNvSpPr txBox="1"/>
          <p:nvPr/>
        </p:nvSpPr>
        <p:spPr>
          <a:xfrm rot="16200000">
            <a:off x="-1483263" y="3813479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3383955C-7217-464B-9FEF-96AD29757FC2}"/>
              </a:ext>
            </a:extLst>
          </p:cNvPr>
          <p:cNvSpPr txBox="1"/>
          <p:nvPr/>
        </p:nvSpPr>
        <p:spPr>
          <a:xfrm>
            <a:off x="11587374" y="500959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532473DE-70DE-4D27-A790-29DB4A0C5A9C}"/>
              </a:ext>
            </a:extLst>
          </p:cNvPr>
          <p:cNvSpPr txBox="1"/>
          <p:nvPr/>
        </p:nvSpPr>
        <p:spPr>
          <a:xfrm>
            <a:off x="11587374" y="5431587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23DEB57F-C27F-423C-9ACF-D302C44EE17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ED800BD-60A9-4034-9984-BD6F5218609C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8D450479-3EE5-4277-A175-4F94CA7CE29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C13B1DEB-1E20-442A-B468-7A5A43CFEAF6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6112E15E-7781-4E91-846A-D53AB0731471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826B233A-2B54-42FF-B7A3-41FFF1CE030A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0C8982CE-27E7-481E-A123-13295CE482F9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35A707BA-876C-4BD9-898A-652379BC0946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9406DF6-0E46-40A5-814F-2681C731CAA7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C43407A4-8252-44CD-ABE9-6D5965B59376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E4D4A2B1-EC08-4FED-96D2-8656E0290BF5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61AFAA7-797E-4744-97D5-EBDE7DF557E7}"/>
              </a:ext>
            </a:extLst>
          </p:cNvPr>
          <p:cNvSpPr txBox="1"/>
          <p:nvPr/>
        </p:nvSpPr>
        <p:spPr>
          <a:xfrm>
            <a:off x="8932582" y="1451229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58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35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9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0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2D796403-0B61-4890-A671-7AF0AA7F2BF4}"/>
              </a:ext>
            </a:extLst>
          </p:cNvPr>
          <p:cNvSpPr txBox="1"/>
          <p:nvPr/>
        </p:nvSpPr>
        <p:spPr>
          <a:xfrm>
            <a:off x="8445932" y="1136168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21739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Jihomoravský kraj</a:t>
            </a: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7CA754DC-A822-422C-92D5-2A3B36E4E5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E9B7F32-66AA-4E74-802C-D5BF6EA379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1701271"/>
              </p:ext>
            </p:extLst>
          </p:nvPr>
        </p:nvGraphicFramePr>
        <p:xfrm>
          <a:off x="556549" y="3433177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226EB61B-B439-4315-8AC4-A9B4ABBA9FA6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F655098-732E-446A-AAA2-47F79F608747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0D5A219D-8D56-453B-A51D-3DC076CEBD3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6">
            <a:extLst>
              <a:ext uri="{FF2B5EF4-FFF2-40B4-BE49-F238E27FC236}">
                <a16:creationId xmlns:a16="http://schemas.microsoft.com/office/drawing/2014/main" id="{901FBC29-BCD7-4BA3-977F-DD211C5967C3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ovéPole 43">
            <a:extLst>
              <a:ext uri="{FF2B5EF4-FFF2-40B4-BE49-F238E27FC236}">
                <a16:creationId xmlns:a16="http://schemas.microsoft.com/office/drawing/2014/main" id="{FFF34F4F-0194-43FB-A577-17626B6450CD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7A5320D1-9B41-4479-BE83-21E7F1AE3B8D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6784123C-FF3A-4018-8FEA-5E84718DD560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BE2CB734-A759-49D4-9478-60830FA4A1DF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1E6F74FA-33DF-41AA-9694-732ADDD8AAA0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BCC3BB19-B060-4442-8228-E2EDDE4FA606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0F48CDB6-B5B4-4AE1-B10E-E74815498032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1FD68606-7D2C-4F64-AEA6-7588C95D5441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5" name="Přímá spojnice 54">
            <a:extLst>
              <a:ext uri="{FF2B5EF4-FFF2-40B4-BE49-F238E27FC236}">
                <a16:creationId xmlns:a16="http://schemas.microsoft.com/office/drawing/2014/main" id="{84141ED1-CED7-42C0-A234-0F2FC348ADF6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D819ED95-0DB9-41A1-9F7E-A3F6F8F68D2C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25C7B6EB-C051-48F7-9570-A06FB76B21E5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2B6C4D26-64D6-4B3D-B9BD-0509C6258F32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59" name="Přímá spojnice 58">
            <a:extLst>
              <a:ext uri="{FF2B5EF4-FFF2-40B4-BE49-F238E27FC236}">
                <a16:creationId xmlns:a16="http://schemas.microsoft.com/office/drawing/2014/main" id="{952339FE-EB59-4C24-A211-37B099CF232E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00598883-E5FC-443A-9C65-FE30B2B8C065}"/>
              </a:ext>
            </a:extLst>
          </p:cNvPr>
          <p:cNvSpPr txBox="1"/>
          <p:nvPr/>
        </p:nvSpPr>
        <p:spPr>
          <a:xfrm>
            <a:off x="10447276" y="25208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10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1 86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01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26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02469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7" name="Obrázek 9">
            <a:extLst>
              <a:ext uri="{FF2B5EF4-FFF2-40B4-BE49-F238E27FC236}">
                <a16:creationId xmlns:a16="http://schemas.microsoft.com/office/drawing/2014/main" id="{24EC32A6-65D3-4A94-BD8B-77F272E735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28361F55-F8A1-49FB-A18A-7C1B538BBC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7285756"/>
              </p:ext>
            </p:extLst>
          </p:nvPr>
        </p:nvGraphicFramePr>
        <p:xfrm>
          <a:off x="556549" y="1329143"/>
          <a:ext cx="11354940" cy="5528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2" name="TextBox 6">
            <a:extLst>
              <a:ext uri="{FF2B5EF4-FFF2-40B4-BE49-F238E27FC236}">
                <a16:creationId xmlns:a16="http://schemas.microsoft.com/office/drawing/2014/main" id="{FBAB8508-4B4A-4086-A6CC-235293A47FBA}"/>
              </a:ext>
            </a:extLst>
          </p:cNvPr>
          <p:cNvSpPr txBox="1"/>
          <p:nvPr/>
        </p:nvSpPr>
        <p:spPr>
          <a:xfrm rot="16200000">
            <a:off x="-1483263" y="382186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30374619-248F-4A41-973E-D6EE172F9C0A}"/>
              </a:ext>
            </a:extLst>
          </p:cNvPr>
          <p:cNvSpPr txBox="1"/>
          <p:nvPr/>
        </p:nvSpPr>
        <p:spPr>
          <a:xfrm>
            <a:off x="11595023" y="518966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0D77A5D0-30DB-4CB3-892C-0A4BB92677BC}"/>
              </a:ext>
            </a:extLst>
          </p:cNvPr>
          <p:cNvSpPr txBox="1"/>
          <p:nvPr/>
        </p:nvSpPr>
        <p:spPr>
          <a:xfrm>
            <a:off x="11595024" y="551395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3862B181-69F9-4571-BBBD-AFC4ABC23E7B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48E2E99C-2067-4B61-9896-8B495513DE66}"/>
              </a:ext>
            </a:extLst>
          </p:cNvPr>
          <p:cNvSpPr txBox="1"/>
          <p:nvPr/>
        </p:nvSpPr>
        <p:spPr>
          <a:xfrm>
            <a:off x="1936786" y="2326857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DEE3D639-65FE-4D99-B720-1C5A963A2FBA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9B97CBB-2E6D-4EA8-A7D7-E7C699767006}"/>
              </a:ext>
            </a:extLst>
          </p:cNvPr>
          <p:cNvSpPr/>
          <p:nvPr/>
        </p:nvSpPr>
        <p:spPr>
          <a:xfrm>
            <a:off x="1639605" y="237866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5CCC6E73-757D-4123-82F7-C01C956B8F3E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756801E3-747F-4B56-9D86-3FDF6D38951F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226BA1EE-F0B9-46F7-B172-A36E38D27200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C0AE6F29-DC29-4CC4-8B4F-17CC4D1E6A51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34B54D93-DB8D-4594-BA37-2C6ABDCA4AC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32B52E11-693A-4B3C-AF47-3060151746EF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A08FE61C-1BFD-46BF-99E9-352ABB426F1B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8BFD69C-4649-4039-8A48-67CC7B830FC0}"/>
              </a:ext>
            </a:extLst>
          </p:cNvPr>
          <p:cNvSpPr txBox="1"/>
          <p:nvPr/>
        </p:nvSpPr>
        <p:spPr>
          <a:xfrm>
            <a:off x="8366324" y="100364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22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73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12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2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543F2D88-8DB2-47C4-8C6F-154D1F7D3740}"/>
              </a:ext>
            </a:extLst>
          </p:cNvPr>
          <p:cNvSpPr txBox="1"/>
          <p:nvPr/>
        </p:nvSpPr>
        <p:spPr>
          <a:xfrm>
            <a:off x="7879674" y="688579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338713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avržené scénáře krátkodobých modelů SIR  - projekce pro vývoj epidemie v říj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49" y="1377051"/>
            <a:ext cx="8658781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600" b="1" dirty="0"/>
              <a:t>V návaznosti na novou kalibraci modelu 1. 10. byly připraveny nové scénáře*</a:t>
            </a:r>
          </a:p>
          <a:p>
            <a:r>
              <a:rPr lang="cs-CZ" sz="1600" b="1" dirty="0">
                <a:solidFill>
                  <a:srgbClr val="00B050"/>
                </a:solidFill>
              </a:rPr>
              <a:t>Scénář středního růstu; předpokládané R = 1,20)</a:t>
            </a:r>
          </a:p>
          <a:p>
            <a:pPr lvl="1"/>
            <a:r>
              <a:rPr lang="cs-CZ" sz="1400" dirty="0"/>
              <a:t>odpovídá aktuální hodnotě reprodukčního čísla</a:t>
            </a:r>
          </a:p>
          <a:p>
            <a:pPr lvl="1"/>
            <a:r>
              <a:rPr lang="cs-CZ" sz="1400" dirty="0"/>
              <a:t>střední nárůst počtů rizikových kontaktů, mírně postupující vakcinace</a:t>
            </a:r>
          </a:p>
          <a:p>
            <a:r>
              <a:rPr lang="cs-CZ" sz="1600" b="1" dirty="0">
                <a:solidFill>
                  <a:srgbClr val="0070C0"/>
                </a:solidFill>
              </a:rPr>
              <a:t>Scénář rychlého růstu, předpokládané R = 1,30)</a:t>
            </a:r>
          </a:p>
          <a:p>
            <a:pPr lvl="1"/>
            <a:r>
              <a:rPr lang="cs-CZ" sz="1400" dirty="0"/>
              <a:t>částečně odpovídá aktuální hodnotě reprodukčního čísla</a:t>
            </a:r>
          </a:p>
          <a:p>
            <a:pPr lvl="1"/>
            <a:r>
              <a:rPr lang="cs-CZ" sz="1400" dirty="0"/>
              <a:t>vysoký počet rizikových kontaktů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C618"/>
                </a:solidFill>
              </a:rPr>
              <a:t>Scénář velmi rychlého růstu, předpokládané R = 1,4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0000"/>
                </a:solidFill>
              </a:rPr>
              <a:t>Scénář velmi rychlého růstu, předpokládané R = 1,6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pPr lvl="1"/>
            <a:endParaRPr lang="cs-CZ" sz="1400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9129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odpovídají kalibraci reprodukčního čísla epidemiologickým modelem pro krátkodobé predikce ÚZIS ČR v segmentu o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30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D739824-474B-43E5-809C-B87901C8C83E}"/>
              </a:ext>
            </a:extLst>
          </p:cNvPr>
          <p:cNvSpPr txBox="1"/>
          <p:nvPr/>
        </p:nvSpPr>
        <p:spPr>
          <a:xfrm>
            <a:off x="9029700" y="1953638"/>
            <a:ext cx="3015762" cy="3416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7495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Olomouc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637B5CA-7ABB-4CAC-8917-2464D7474930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67231B6-229F-40B5-B88A-FFD124DE2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72AC0F59-F4CD-4492-ADFE-D4AAAD6B6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8CCBB09F-B8CB-457E-873F-1EA18F8F1E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4698591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AAA7113D-DD94-4FBB-BEC0-64C341684938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336B86E9-B8C6-4E2C-8656-32CDD9F726F1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B3C61762-5A35-49E1-953A-8BD18BC56A15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ACA29712-A616-4D75-91D2-386183AFC5C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41498974-E459-46BB-BFAC-157AACD7AC09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09786EA-04E9-46C5-9A90-72F3EF1E35EA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B3D6024-BC2C-4E22-9657-D6FDD2C6716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1DDB758D-14F5-4EC9-9C6F-60AEE1CF0FEE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CDBAAB1A-C4C1-40A0-ABF2-FD5827129D79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5F0DF3CA-6358-46E7-81B7-DBF5258C111C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630BE859-61EE-4495-9438-C6BBCABBDA9E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1E7EC26C-D1B2-457C-A5F9-AA2987A7C25B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FB672E0A-B272-44F7-A2BE-9F33F592D95B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4BB03F11-080A-4DFF-AF2A-CC19092BA630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399A6589-DCB4-4333-A34B-16F9B439EE1F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F961011D-8064-41B3-AA3E-3D9DEAD5D121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9CECAC71-312A-4A6E-8A2D-A95D842D96CA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FBA20B92-3949-4F07-9E5D-0D1A7DF09FF3}"/>
              </a:ext>
            </a:extLst>
          </p:cNvPr>
          <p:cNvSpPr txBox="1"/>
          <p:nvPr/>
        </p:nvSpPr>
        <p:spPr>
          <a:xfrm>
            <a:off x="10482376" y="2645911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11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70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63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89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7010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EAAEC9C-9787-42E1-8FA6-6339E87A1247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091EF52-9329-4CE6-B7B2-34AAEE628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D6B9575F-24DE-4CAD-B5A2-0750DA68E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6B8EBB15-CC75-4B3F-8CC8-B51E906658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3378782"/>
              </p:ext>
            </p:extLst>
          </p:nvPr>
        </p:nvGraphicFramePr>
        <p:xfrm>
          <a:off x="556549" y="1161363"/>
          <a:ext cx="11354940" cy="569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9B321D5A-49D2-455B-BEE8-969A4E2FBE3B}"/>
              </a:ext>
            </a:extLst>
          </p:cNvPr>
          <p:cNvSpPr txBox="1"/>
          <p:nvPr/>
        </p:nvSpPr>
        <p:spPr>
          <a:xfrm rot="16200000">
            <a:off x="-1483263" y="3654088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FF69147F-910E-4428-AD52-9D2F2CEF0DBD}"/>
              </a:ext>
            </a:extLst>
          </p:cNvPr>
          <p:cNvSpPr txBox="1"/>
          <p:nvPr/>
        </p:nvSpPr>
        <p:spPr>
          <a:xfrm>
            <a:off x="11600404" y="51477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AAA79C2D-7BC3-4C0C-82C1-AABCBC59E385}"/>
              </a:ext>
            </a:extLst>
          </p:cNvPr>
          <p:cNvSpPr txBox="1"/>
          <p:nvPr/>
        </p:nvSpPr>
        <p:spPr>
          <a:xfrm>
            <a:off x="11620312" y="546262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FB8F60B-F915-4855-A1C2-13E6BA64177E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B0ED8788-15FE-41D9-90CD-DC633DECCD6A}"/>
              </a:ext>
            </a:extLst>
          </p:cNvPr>
          <p:cNvSpPr txBox="1"/>
          <p:nvPr/>
        </p:nvSpPr>
        <p:spPr>
          <a:xfrm>
            <a:off x="5472652" y="100135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F33563B-7374-4043-ACA7-C1BE9E139011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E3E59107-6C99-48E8-A96B-E989A6A7A554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F09EF548-78ED-4BBD-888D-6AA66BFB001A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0D3E548-54EC-48A7-8DB7-A6D2BBA1BA65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DACAD952-5979-4E18-B894-BD626B22B883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7D1E32E8-A899-4276-8F04-33BA2DCF8AE2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7E9FC879-599C-4E05-8E9C-D72546D6C751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78C917F3-4742-4729-9B16-6D825BEB15E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0A3D715F-0413-4CDB-8F5F-593BDA753D0F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58698B5-AEBE-4AB5-8DF8-98B42E2525C6}"/>
              </a:ext>
            </a:extLst>
          </p:cNvPr>
          <p:cNvSpPr txBox="1"/>
          <p:nvPr/>
        </p:nvSpPr>
        <p:spPr>
          <a:xfrm>
            <a:off x="8960314" y="910341"/>
            <a:ext cx="1945049" cy="118494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3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9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81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52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C74C30-7BE6-48E6-890F-66593B794E40}"/>
              </a:ext>
            </a:extLst>
          </p:cNvPr>
          <p:cNvSpPr txBox="1"/>
          <p:nvPr/>
        </p:nvSpPr>
        <p:spPr>
          <a:xfrm>
            <a:off x="8473664" y="59528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9033614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Zlínský kraj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E210122-DB31-48AA-8AC8-EFFE3245B4F9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2C333EC3-C379-4CD6-9480-FAECD12AA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68E2DB84-5B2F-489B-85AC-0F5E2D56F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EAF49646-B7A3-4163-9CF0-F50DA809B5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464858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11350A8C-1B21-4873-BCB0-861E6A1419F5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D35C55E1-A5D0-40D7-917B-4B15721BAB3D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7C7463F4-550E-4CBD-9F54-14C62115E706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6">
            <a:extLst>
              <a:ext uri="{FF2B5EF4-FFF2-40B4-BE49-F238E27FC236}">
                <a16:creationId xmlns:a16="http://schemas.microsoft.com/office/drawing/2014/main" id="{33E52F61-3ECE-421C-837B-7CF8F7E2CC6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001D90DB-3CFF-44DB-BA5F-E8F86F01A395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2107AB09-87F1-475A-98A3-1FB9F6436D69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8EBD3B0B-624D-4A1A-8172-5EF45849A9F9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4A2DD144-DE15-49F9-A675-4A790FC0B287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5" name="Obdélník 54">
            <a:extLst>
              <a:ext uri="{FF2B5EF4-FFF2-40B4-BE49-F238E27FC236}">
                <a16:creationId xmlns:a16="http://schemas.microsoft.com/office/drawing/2014/main" id="{3D464400-7767-433E-9857-39AA2D271147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2DF27549-14B0-42AB-9D0F-3E1BC685951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96309AAC-D96F-477F-B355-55B5561580F3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103C2832-987E-4E9E-95D6-969552A1C254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4E3749C7-C03A-42F7-B3B6-B08E7C7D3115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81272B19-6F40-4E7F-B635-8CFE2D7E6D1E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43F36FFE-31C0-4273-AD2A-2735CBAC70AD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3D082C7-D117-446D-A59C-F98749FB222D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0008F772-20C1-4A17-86D7-F4F9921D7E9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C288C6E-12BF-44D1-B6D1-32328DC48EB6}"/>
              </a:ext>
            </a:extLst>
          </p:cNvPr>
          <p:cNvSpPr txBox="1"/>
          <p:nvPr/>
        </p:nvSpPr>
        <p:spPr>
          <a:xfrm>
            <a:off x="10506712" y="2488885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1 00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60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328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71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690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</a:t>
            </a:r>
            <a:br>
              <a:rPr lang="cs-CZ" sz="1800" dirty="0">
                <a:latin typeface="+mj-lt"/>
              </a:rPr>
            </a:br>
            <a:r>
              <a:rPr lang="cs-CZ" sz="1800" dirty="0"/>
              <a:t>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ABBEF440-9B73-4678-85E1-C7EA118090D8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EC49A19-88DC-4B7C-9826-5AF41E510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6E485FB9-C538-4482-A44B-56C3E56E70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091E9871-321F-4599-8D36-5B7F507F45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9137957"/>
              </p:ext>
            </p:extLst>
          </p:nvPr>
        </p:nvGraphicFramePr>
        <p:xfrm>
          <a:off x="556549" y="1379477"/>
          <a:ext cx="11354940" cy="5478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DB2CB1B4-5425-4408-BE99-BF8E18F3FC13}"/>
              </a:ext>
            </a:extLst>
          </p:cNvPr>
          <p:cNvSpPr txBox="1"/>
          <p:nvPr/>
        </p:nvSpPr>
        <p:spPr>
          <a:xfrm rot="16200000">
            <a:off x="-1263868" y="3866092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CBEA7757-5875-4A54-80B2-A563C4A610A4}"/>
              </a:ext>
            </a:extLst>
          </p:cNvPr>
          <p:cNvSpPr txBox="1"/>
          <p:nvPr/>
        </p:nvSpPr>
        <p:spPr>
          <a:xfrm>
            <a:off x="11614458" y="507872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2DA1F8C7-012F-49D0-888B-361A41EF5969}"/>
              </a:ext>
            </a:extLst>
          </p:cNvPr>
          <p:cNvSpPr txBox="1"/>
          <p:nvPr/>
        </p:nvSpPr>
        <p:spPr>
          <a:xfrm>
            <a:off x="11614457" y="548165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39F0D7-4997-4CA9-8D1E-54B0FCC949A1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98D70D87-2686-42AF-BD0A-8B14BB0C8610}"/>
              </a:ext>
            </a:extLst>
          </p:cNvPr>
          <p:cNvSpPr txBox="1"/>
          <p:nvPr/>
        </p:nvSpPr>
        <p:spPr>
          <a:xfrm>
            <a:off x="1934396" y="2452945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A6DBE4D-80BF-4219-A5EE-30D9C92618AE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A5B65F6A-B055-4644-9749-89A3670BFE76}"/>
              </a:ext>
            </a:extLst>
          </p:cNvPr>
          <p:cNvSpPr/>
          <p:nvPr/>
        </p:nvSpPr>
        <p:spPr>
          <a:xfrm>
            <a:off x="1637215" y="250475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2F294D6A-D448-4B62-B0E3-08DF1A74999B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C1108EA-BD72-4A0A-A4C5-54A146EBD84E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9" name="Přímá spojnice 48">
            <a:extLst>
              <a:ext uri="{FF2B5EF4-FFF2-40B4-BE49-F238E27FC236}">
                <a16:creationId xmlns:a16="http://schemas.microsoft.com/office/drawing/2014/main" id="{9A9BB519-6104-4137-9962-5AA424D7BDEC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80664FA6-1542-4DB2-9A30-E44616EB6B09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D9B16465-C6F9-4236-A800-E1A1A04C058B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540FF94E-75A5-4A90-92CF-3FC3CDCE716D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71D8631F-DB7D-4F94-8D69-CA2391F4FBD2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02719BF5-AE2D-4C46-A27B-9DB7BB6B79AD}"/>
              </a:ext>
            </a:extLst>
          </p:cNvPr>
          <p:cNvSpPr txBox="1"/>
          <p:nvPr/>
        </p:nvSpPr>
        <p:spPr>
          <a:xfrm>
            <a:off x="8557754" y="1006211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818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490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27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149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9041DF88-5ADF-4056-9C27-881288069B3F}"/>
              </a:ext>
            </a:extLst>
          </p:cNvPr>
          <p:cNvSpPr txBox="1"/>
          <p:nvPr/>
        </p:nvSpPr>
        <p:spPr>
          <a:xfrm>
            <a:off x="8071104" y="691150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830644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Moravskoslezský kraj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7A8D6D5-2BE1-4709-A9F9-AAD5E93A3096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BE316EE1-BD8B-434D-B8A6-411511017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2" name="Picture 2" descr="logo MoravskoslezskÃ½ kraj">
              <a:extLst>
                <a:ext uri="{FF2B5EF4-FFF2-40B4-BE49-F238E27FC236}">
                  <a16:creationId xmlns:a16="http://schemas.microsoft.com/office/drawing/2014/main" id="{6820DBB1-4D8C-45BE-990C-77BAF3B77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D198C4D8-80C4-4908-94E3-3C203BB35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1669743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ovéPole 28">
            <a:extLst>
              <a:ext uri="{FF2B5EF4-FFF2-40B4-BE49-F238E27FC236}">
                <a16:creationId xmlns:a16="http://schemas.microsoft.com/office/drawing/2014/main" id="{41F7B6FC-C4B4-42E7-9964-0844BB1B47BB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33" name="Přímá spojnice se šipkou 32">
            <a:extLst>
              <a:ext uri="{FF2B5EF4-FFF2-40B4-BE49-F238E27FC236}">
                <a16:creationId xmlns:a16="http://schemas.microsoft.com/office/drawing/2014/main" id="{DDF95F2C-9776-477C-B69B-E3EAE44BEE9D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53E7D912-4ABD-433E-A8C6-A3F41581F92E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6">
            <a:extLst>
              <a:ext uri="{FF2B5EF4-FFF2-40B4-BE49-F238E27FC236}">
                <a16:creationId xmlns:a16="http://schemas.microsoft.com/office/drawing/2014/main" id="{1759560C-FE15-452F-B753-A32E896B65CB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8060B3D1-F2B9-46CB-83D4-44B20A9A6DC6}"/>
              </a:ext>
            </a:extLst>
          </p:cNvPr>
          <p:cNvSpPr txBox="1"/>
          <p:nvPr/>
        </p:nvSpPr>
        <p:spPr>
          <a:xfrm>
            <a:off x="8249941" y="2790122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1CDF4655-C47E-4712-AE69-4F5DE617A60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A3B0A307-B9A5-4DBD-A18D-CE8FCA3EA491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234E3D9C-F954-448D-82E3-770AAD3CA173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88384F24-E255-404E-8B2C-66FF2DBDCB5B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89F7BED3-CD2D-417E-88C0-2B11D845501C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B7EF11A1-DF14-404F-97FD-EF4D1889D80A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D996B2A7-2E47-444F-A693-D572E804A338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59" name="Přímá spojnice 58">
            <a:extLst>
              <a:ext uri="{FF2B5EF4-FFF2-40B4-BE49-F238E27FC236}">
                <a16:creationId xmlns:a16="http://schemas.microsoft.com/office/drawing/2014/main" id="{AC3AA9E4-A569-4788-87CC-4088828F9D91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AA113F19-1197-4AAA-9E5D-626FEC0CCB5E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6F2375FB-85DF-4029-A408-46A9AE346FAE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2" name="TextovéPole 61">
            <a:extLst>
              <a:ext uri="{FF2B5EF4-FFF2-40B4-BE49-F238E27FC236}">
                <a16:creationId xmlns:a16="http://schemas.microsoft.com/office/drawing/2014/main" id="{FF739972-B2BF-4068-A201-BA89DE96B0B3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3" name="Přímá spojnice 62">
            <a:extLst>
              <a:ext uri="{FF2B5EF4-FFF2-40B4-BE49-F238E27FC236}">
                <a16:creationId xmlns:a16="http://schemas.microsoft.com/office/drawing/2014/main" id="{0F117193-7CF7-495F-B759-537767A2D8B9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806A9B9-F727-42D4-9DCE-A1FB38C4F638}"/>
              </a:ext>
            </a:extLst>
          </p:cNvPr>
          <p:cNvSpPr txBox="1"/>
          <p:nvPr/>
        </p:nvSpPr>
        <p:spPr>
          <a:xfrm>
            <a:off x="10506712" y="243530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3 509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107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14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594 predikovaných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6777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</a:t>
            </a: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3B28575-B676-4AB3-A35F-2AF5E956246F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7DCF597-4193-4B75-86AF-8804BFB38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4" name="Picture 2" descr="logo MoravskoslezskÃ½ kraj">
              <a:extLst>
                <a:ext uri="{FF2B5EF4-FFF2-40B4-BE49-F238E27FC236}">
                  <a16:creationId xmlns:a16="http://schemas.microsoft.com/office/drawing/2014/main" id="{A6DD4F8C-022B-4E6A-A279-442EC18AA4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24" name="Chart 4">
            <a:extLst>
              <a:ext uri="{FF2B5EF4-FFF2-40B4-BE49-F238E27FC236}">
                <a16:creationId xmlns:a16="http://schemas.microsoft.com/office/drawing/2014/main" id="{C9E63093-5C55-4DC2-AB2F-BA3E20289B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9237528"/>
              </p:ext>
            </p:extLst>
          </p:nvPr>
        </p:nvGraphicFramePr>
        <p:xfrm>
          <a:off x="556549" y="1345921"/>
          <a:ext cx="11354940" cy="557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6" name="TextBox 6">
            <a:extLst>
              <a:ext uri="{FF2B5EF4-FFF2-40B4-BE49-F238E27FC236}">
                <a16:creationId xmlns:a16="http://schemas.microsoft.com/office/drawing/2014/main" id="{F6ACBF8E-7576-490C-A9BF-C03DB1049512}"/>
              </a:ext>
            </a:extLst>
          </p:cNvPr>
          <p:cNvSpPr txBox="1"/>
          <p:nvPr/>
        </p:nvSpPr>
        <p:spPr>
          <a:xfrm rot="16200000">
            <a:off x="-1483263" y="3838646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60EECC08-D359-4E45-94BA-DD52F3A693F1}"/>
              </a:ext>
            </a:extLst>
          </p:cNvPr>
          <p:cNvSpPr txBox="1"/>
          <p:nvPr/>
        </p:nvSpPr>
        <p:spPr>
          <a:xfrm>
            <a:off x="11581780" y="524010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C6646942-7567-46AD-8B53-AEE676889AAC}"/>
              </a:ext>
            </a:extLst>
          </p:cNvPr>
          <p:cNvSpPr txBox="1"/>
          <p:nvPr/>
        </p:nvSpPr>
        <p:spPr>
          <a:xfrm>
            <a:off x="11581780" y="55626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2019607-6E54-42E2-A349-E70B3DF58A85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EBFE0CBF-7B64-4BB7-A4FD-6620D0848397}"/>
              </a:ext>
            </a:extLst>
          </p:cNvPr>
          <p:cNvSpPr txBox="1"/>
          <p:nvPr/>
        </p:nvSpPr>
        <p:spPr>
          <a:xfrm>
            <a:off x="1931960" y="2464976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8BC4ADF7-5E26-47ED-BC0F-5802829FDBE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5E672CE7-BA14-46E4-BF58-BE3F9AEEA46C}"/>
              </a:ext>
            </a:extLst>
          </p:cNvPr>
          <p:cNvSpPr/>
          <p:nvPr/>
        </p:nvSpPr>
        <p:spPr>
          <a:xfrm>
            <a:off x="1634779" y="251678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896E2F39-5065-488A-8A5E-596E8A2B0EE1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C662684D-C53A-4CF0-B2E6-BEBF9D07A0E9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25D25460-2029-495F-B16B-CA865857007A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6FEA28AB-B21C-4381-A086-915DD9E044DD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5806BCE7-ED04-42F1-865B-062BDF695205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D79CF83F-E284-41EE-949C-299D5B42E268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EC2E9066-9BB8-4A01-8488-9B7D9BBC25A0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EA5FEC5-CDDA-4510-887C-B700BB7BFF01}"/>
              </a:ext>
            </a:extLst>
          </p:cNvPr>
          <p:cNvSpPr txBox="1"/>
          <p:nvPr/>
        </p:nvSpPr>
        <p:spPr>
          <a:xfrm>
            <a:off x="8140966" y="110523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38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29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66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53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A31C87CA-4EE7-49A9-8E7F-14DD4774453C}"/>
              </a:ext>
            </a:extLst>
          </p:cNvPr>
          <p:cNvSpPr txBox="1"/>
          <p:nvPr/>
        </p:nvSpPr>
        <p:spPr>
          <a:xfrm>
            <a:off x="7654316" y="790176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2541816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369959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Krátkodobá proje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33350" y="1307741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799234"/>
            <a:ext cx="542093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2447503"/>
            <a:ext cx="5420930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středního růstu, R = 1,2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100500" y="1041792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4137734" y="1901669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40582" y="4623033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714833" y="125557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526655" y="522334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823835" y="5171538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420580" y="141061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714833" y="146304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420580" y="163392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420580" y="204809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714833" y="1889372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715325" y="1682896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420580" y="1834105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A62D9655-E14D-43AF-B030-40E7852F6659}"/>
              </a:ext>
            </a:extLst>
          </p:cNvPr>
          <p:cNvSpPr txBox="1"/>
          <p:nvPr/>
        </p:nvSpPr>
        <p:spPr>
          <a:xfrm>
            <a:off x="1356286" y="3184240"/>
            <a:ext cx="7560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a zachování objemu testů existuje potenciál k překročení hranice 9 000 nových případů průměrně den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492B4F3-8542-4CB6-BAAE-C0B6C76D54EF}"/>
              </a:ext>
            </a:extLst>
          </p:cNvPr>
          <p:cNvCxnSpPr>
            <a:cxnSpLocks/>
          </p:cNvCxnSpPr>
          <p:nvPr/>
        </p:nvCxnSpPr>
        <p:spPr>
          <a:xfrm flipH="1">
            <a:off x="1304678" y="3804164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436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676896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10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2. 11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99" y="2574"/>
            <a:ext cx="11757523" cy="576000"/>
          </a:xfrm>
        </p:spPr>
        <p:txBody>
          <a:bodyPr/>
          <a:lstStyle/>
          <a:p>
            <a:r>
              <a:rPr lang="cs-CZ" sz="2400" dirty="0" err="1"/>
              <a:t>Rekalibrace</a:t>
            </a:r>
            <a:r>
              <a:rPr lang="cs-CZ" sz="2400" dirty="0"/>
              <a:t> prediktivního modelu pro </a:t>
            </a:r>
            <a:r>
              <a:rPr lang="cs-CZ" sz="2400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1588429"/>
              </p:ext>
            </p:extLst>
          </p:nvPr>
        </p:nvGraphicFramePr>
        <p:xfrm>
          <a:off x="45720" y="1491579"/>
          <a:ext cx="12108951" cy="4804013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744980">
                <a:tc>
                  <a:txBody>
                    <a:bodyPr/>
                    <a:lstStyle/>
                    <a:p>
                      <a:pPr algn="l"/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celkový počet</a:t>
                      </a: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průměrný denní počet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dno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14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d 23. 9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0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52645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7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855002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4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563208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31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2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28756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7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06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102910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14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2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5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8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627195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30879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1161185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7878422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876050" y="251449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19561" y="259094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399304" y="2549179"/>
            <a:ext cx="3023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581305" y="266952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876050" y="273971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581305" y="289283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581305" y="334113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868193" y="319184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876985" y="295760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582240" y="310881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49455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3353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422749" y="86774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85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9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0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894962" y="533795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0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31514D0-6B6B-4DFE-9851-EA31A8D80E45}"/>
              </a:ext>
            </a:extLst>
          </p:cNvPr>
          <p:cNvSpPr txBox="1"/>
          <p:nvPr/>
        </p:nvSpPr>
        <p:spPr>
          <a:xfrm>
            <a:off x="1370195" y="1558270"/>
            <a:ext cx="618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řekročení hranice 5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150B6D9-DF79-4F5B-A9D4-EAD29D736503}"/>
              </a:ext>
            </a:extLst>
          </p:cNvPr>
          <p:cNvCxnSpPr>
            <a:cxnSpLocks/>
          </p:cNvCxnSpPr>
          <p:nvPr/>
        </p:nvCxnSpPr>
        <p:spPr>
          <a:xfrm flipH="1">
            <a:off x="1318586" y="2178194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7035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Krátkodobé populační predik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206590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1">
            <a:extLst>
              <a:ext uri="{FF2B5EF4-FFF2-40B4-BE49-F238E27FC236}">
                <a16:creationId xmlns:a16="http://schemas.microsoft.com/office/drawing/2014/main" id="{6518D429-51CE-40C1-89F9-ADE1A2030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ce ve čtyřech scénářích: Praha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A3D10F2-5603-4536-8013-E5443E88E93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9" name="Chart 4">
            <a:extLst>
              <a:ext uri="{FF2B5EF4-FFF2-40B4-BE49-F238E27FC236}">
                <a16:creationId xmlns:a16="http://schemas.microsoft.com/office/drawing/2014/main" id="{B6523D7D-8564-427A-B9A2-2C7A2E997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6731560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TextovéPole 47">
            <a:extLst>
              <a:ext uri="{FF2B5EF4-FFF2-40B4-BE49-F238E27FC236}">
                <a16:creationId xmlns:a16="http://schemas.microsoft.com/office/drawing/2014/main" id="{EA7FBCD8-2F58-4301-A798-590BFA2E9067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cxnSp>
        <p:nvCxnSpPr>
          <p:cNvPr id="51" name="Přímá spojnice se šipkou 50">
            <a:extLst>
              <a:ext uri="{FF2B5EF4-FFF2-40B4-BE49-F238E27FC236}">
                <a16:creationId xmlns:a16="http://schemas.microsoft.com/office/drawing/2014/main" id="{CBE43764-7DAE-42B9-B384-3F7BA8128675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4DE49FA8-AFB3-4B8B-9B43-1BDD1273377C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6">
            <a:extLst>
              <a:ext uri="{FF2B5EF4-FFF2-40B4-BE49-F238E27FC236}">
                <a16:creationId xmlns:a16="http://schemas.microsoft.com/office/drawing/2014/main" id="{77642D23-AB8A-428B-B5A9-B6DE7D5CA8AC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494FEE07-9E48-43F3-ACED-58235DD7DD8B}"/>
              </a:ext>
            </a:extLst>
          </p:cNvPr>
          <p:cNvSpPr txBox="1"/>
          <p:nvPr/>
        </p:nvSpPr>
        <p:spPr>
          <a:xfrm>
            <a:off x="4467521" y="4092753"/>
            <a:ext cx="21973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83DEFAE-C712-4ECA-9E6F-3A56F8769B65}"/>
              </a:ext>
            </a:extLst>
          </p:cNvPr>
          <p:cNvSpPr/>
          <p:nvPr/>
        </p:nvSpPr>
        <p:spPr>
          <a:xfrm>
            <a:off x="0" y="582612"/>
            <a:ext cx="433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900" b="1" dirty="0">
                <a:solidFill>
                  <a:srgbClr val="000000"/>
                </a:solidFill>
              </a:rPr>
              <a:t>Hodnota celorepublikového modelu byla lokalizovaná do příslušného kraje se zohledněním trendu nárůstu </a:t>
            </a:r>
            <a:r>
              <a:rPr lang="es-ES" sz="900" b="1" dirty="0">
                <a:solidFill>
                  <a:srgbClr val="000000"/>
                </a:solidFill>
              </a:rPr>
              <a:t>ve dnech 23. 9. až 30. 9.</a:t>
            </a:r>
            <a:endParaRPr lang="cs-CZ" sz="900" b="1" dirty="0">
              <a:solidFill>
                <a:srgbClr val="000000"/>
              </a:solidFill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A2CB00D4-5B9B-4930-8BCC-5361C9A6EA2F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8F7CDF86-8B20-4AAC-B373-2D8B4F06E95C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omalého růstu, R = 1,20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07F0F1CE-F37F-4986-91BE-6E379D07486E}"/>
              </a:ext>
            </a:extLst>
          </p:cNvPr>
          <p:cNvSpPr txBox="1"/>
          <p:nvPr/>
        </p:nvSpPr>
        <p:spPr>
          <a:xfrm>
            <a:off x="10513974" y="2435309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algn="r" fontAlgn="ctr"/>
            <a:r>
              <a:rPr lang="cs-CZ" sz="1200" dirty="0">
                <a:solidFill>
                  <a:srgbClr val="FF0000"/>
                </a:solidFill>
                <a:latin typeface="Calibri" panose="020F0502020204030204" pitchFamily="34" charset="0"/>
              </a:rPr>
              <a:t>4 156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2 495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1 351 predikovaných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704 predikovaných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E15E1487-A75D-4BAC-860E-28CE11CAF8D1}"/>
              </a:ext>
            </a:extLst>
          </p:cNvPr>
          <p:cNvSpPr/>
          <p:nvPr/>
        </p:nvSpPr>
        <p:spPr>
          <a:xfrm>
            <a:off x="4170341" y="41445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DBEB4CE4-C503-4ADD-95B6-F7E006E012D2}"/>
              </a:ext>
            </a:extLst>
          </p:cNvPr>
          <p:cNvSpPr txBox="1"/>
          <p:nvPr/>
        </p:nvSpPr>
        <p:spPr>
          <a:xfrm>
            <a:off x="4467521" y="278925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60</a:t>
            </a: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B5E36154-E0D1-4F2D-B4F8-B515B116804C}"/>
              </a:ext>
            </a:extLst>
          </p:cNvPr>
          <p:cNvCxnSpPr>
            <a:cxnSpLocks/>
          </p:cNvCxnSpPr>
          <p:nvPr/>
        </p:nvCxnSpPr>
        <p:spPr>
          <a:xfrm>
            <a:off x="4173268" y="2944288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1FE0CCD7-860B-4CB8-9B18-E8A10DF62A5B}"/>
              </a:ext>
            </a:extLst>
          </p:cNvPr>
          <p:cNvSpPr txBox="1"/>
          <p:nvPr/>
        </p:nvSpPr>
        <p:spPr>
          <a:xfrm>
            <a:off x="4467521" y="29967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40</a:t>
            </a:r>
          </a:p>
        </p:txBody>
      </p:sp>
      <p:cxnSp>
        <p:nvCxnSpPr>
          <p:cNvPr id="64" name="Přímá spojnice 63">
            <a:extLst>
              <a:ext uri="{FF2B5EF4-FFF2-40B4-BE49-F238E27FC236}">
                <a16:creationId xmlns:a16="http://schemas.microsoft.com/office/drawing/2014/main" id="{C5AFFDFE-1470-4AB7-90F9-24E7911CA688}"/>
              </a:ext>
            </a:extLst>
          </p:cNvPr>
          <p:cNvCxnSpPr>
            <a:cxnSpLocks/>
          </p:cNvCxnSpPr>
          <p:nvPr/>
        </p:nvCxnSpPr>
        <p:spPr>
          <a:xfrm>
            <a:off x="4173268" y="3167595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65" name="Přímá spojnice 64">
            <a:extLst>
              <a:ext uri="{FF2B5EF4-FFF2-40B4-BE49-F238E27FC236}">
                <a16:creationId xmlns:a16="http://schemas.microsoft.com/office/drawing/2014/main" id="{6A78694C-EAF0-48A4-9DA9-44EC0A6FAEE1}"/>
              </a:ext>
            </a:extLst>
          </p:cNvPr>
          <p:cNvCxnSpPr>
            <a:cxnSpLocks/>
          </p:cNvCxnSpPr>
          <p:nvPr/>
        </p:nvCxnSpPr>
        <p:spPr>
          <a:xfrm>
            <a:off x="4173268" y="3572343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sp>
        <p:nvSpPr>
          <p:cNvPr id="66" name="TextovéPole 65">
            <a:extLst>
              <a:ext uri="{FF2B5EF4-FFF2-40B4-BE49-F238E27FC236}">
                <a16:creationId xmlns:a16="http://schemas.microsoft.com/office/drawing/2014/main" id="{0C6AE368-A27C-48A4-B6C9-22F0744AF8AF}"/>
              </a:ext>
            </a:extLst>
          </p:cNvPr>
          <p:cNvSpPr txBox="1"/>
          <p:nvPr/>
        </p:nvSpPr>
        <p:spPr>
          <a:xfrm>
            <a:off x="4467521" y="3423047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20</a:t>
            </a:r>
          </a:p>
          <a:p>
            <a:pPr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ze dne 1. 10. 2021)</a:t>
            </a: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1D45D98C-4C88-4366-B80F-CB15FE1FA002}"/>
              </a:ext>
            </a:extLst>
          </p:cNvPr>
          <p:cNvSpPr txBox="1"/>
          <p:nvPr/>
        </p:nvSpPr>
        <p:spPr>
          <a:xfrm>
            <a:off x="4468013" y="3216570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Epidemická křivka odpovídající R = 1,30</a:t>
            </a:r>
          </a:p>
        </p:txBody>
      </p:sp>
      <p:cxnSp>
        <p:nvCxnSpPr>
          <p:cNvPr id="68" name="Přímá spojnice 67">
            <a:extLst>
              <a:ext uri="{FF2B5EF4-FFF2-40B4-BE49-F238E27FC236}">
                <a16:creationId xmlns:a16="http://schemas.microsoft.com/office/drawing/2014/main" id="{D826F994-CB86-4173-8531-BD138D7327D2}"/>
              </a:ext>
            </a:extLst>
          </p:cNvPr>
          <p:cNvCxnSpPr>
            <a:cxnSpLocks/>
          </p:cNvCxnSpPr>
          <p:nvPr/>
        </p:nvCxnSpPr>
        <p:spPr>
          <a:xfrm>
            <a:off x="4173268" y="3367779"/>
            <a:ext cx="237744" cy="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03245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Nadpis 1">
            <a:extLst>
              <a:ext uri="{FF2B5EF4-FFF2-40B4-BE49-F238E27FC236}">
                <a16:creationId xmlns:a16="http://schemas.microsoft.com/office/drawing/2014/main" id="{CFCC2C02-F284-4941-91C6-5CC2566B6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sz="1800" dirty="0" err="1">
                <a:latin typeface="+mj-lt"/>
              </a:rPr>
              <a:t>Modelov</a:t>
            </a:r>
            <a:r>
              <a:rPr lang="cs-CZ" sz="1800" dirty="0">
                <a:latin typeface="+mj-lt"/>
              </a:rPr>
              <a:t>é scénáře: 7denní hodnoty na 100 tisíc obyvatel: Praha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9B8E0D10-17C4-4853-8301-52892F01D2D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1" name="Chart 4">
            <a:extLst>
              <a:ext uri="{FF2B5EF4-FFF2-40B4-BE49-F238E27FC236}">
                <a16:creationId xmlns:a16="http://schemas.microsoft.com/office/drawing/2014/main" id="{BB551E58-93BA-4BAA-AEB2-FEB996BBC5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2143229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154B69E7-C0F3-4F83-BEEB-7F5FB9C41705}"/>
              </a:ext>
            </a:extLst>
          </p:cNvPr>
          <p:cNvSpPr txBox="1"/>
          <p:nvPr/>
        </p:nvSpPr>
        <p:spPr>
          <a:xfrm>
            <a:off x="1934396" y="2338213"/>
            <a:ext cx="3085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6">
            <a:extLst>
              <a:ext uri="{FF2B5EF4-FFF2-40B4-BE49-F238E27FC236}">
                <a16:creationId xmlns:a16="http://schemas.microsoft.com/office/drawing/2014/main" id="{050E0672-5489-48D4-AB36-66B83CC45C74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5AB43827-FF9C-4DD3-8A97-AB27C6E42CDC}"/>
              </a:ext>
            </a:extLst>
          </p:cNvPr>
          <p:cNvSpPr txBox="1"/>
          <p:nvPr/>
        </p:nvSpPr>
        <p:spPr>
          <a:xfrm>
            <a:off x="11577197" y="497980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F9C9239C-4423-4333-9A89-0170DDD84B84}"/>
              </a:ext>
            </a:extLst>
          </p:cNvPr>
          <p:cNvSpPr txBox="1"/>
          <p:nvPr/>
        </p:nvSpPr>
        <p:spPr>
          <a:xfrm>
            <a:off x="11588684" y="5349141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E60540D2-3AC4-433A-9FA4-DC0A6B8F9082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3B689D34-4787-4762-B42F-E8ADBC63BDDD}"/>
              </a:ext>
            </a:extLst>
          </p:cNvPr>
          <p:cNvSpPr/>
          <p:nvPr/>
        </p:nvSpPr>
        <p:spPr>
          <a:xfrm>
            <a:off x="1637215" y="239002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51B848DE-34F7-4FE9-96FB-F56243CD7EBA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AFDCED44-54C8-4F89-9BFC-F121C3E43E3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553D1C87-C8D4-4BD9-BD71-C4F461D4C0E6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Přímá spojnice 47">
            <a:extLst>
              <a:ext uri="{FF2B5EF4-FFF2-40B4-BE49-F238E27FC236}">
                <a16:creationId xmlns:a16="http://schemas.microsoft.com/office/drawing/2014/main" id="{F3A355DA-9EA2-4055-892B-617ACBD1680C}"/>
              </a:ext>
            </a:extLst>
          </p:cNvPr>
          <p:cNvCxnSpPr>
            <a:cxnSpLocks/>
          </p:cNvCxnSpPr>
          <p:nvPr/>
        </p:nvCxnSpPr>
        <p:spPr>
          <a:xfrm>
            <a:off x="1637215" y="1803358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DD31ACE6-AE23-493B-9E3B-37A0481A6036}"/>
              </a:ext>
            </a:extLst>
          </p:cNvPr>
          <p:cNvSpPr txBox="1"/>
          <p:nvPr/>
        </p:nvSpPr>
        <p:spPr>
          <a:xfrm>
            <a:off x="1924103" y="1654062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8DD054DE-C666-4435-A09A-4A66553C6402}"/>
              </a:ext>
            </a:extLst>
          </p:cNvPr>
          <p:cNvSpPr txBox="1"/>
          <p:nvPr/>
        </p:nvSpPr>
        <p:spPr>
          <a:xfrm>
            <a:off x="1932895" y="141982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60" name="Přímá spojnice 59">
            <a:extLst>
              <a:ext uri="{FF2B5EF4-FFF2-40B4-BE49-F238E27FC236}">
                <a16:creationId xmlns:a16="http://schemas.microsoft.com/office/drawing/2014/main" id="{6A2A8BDC-0BD2-4CED-9F39-7A002B4A42EA}"/>
              </a:ext>
            </a:extLst>
          </p:cNvPr>
          <p:cNvCxnSpPr>
            <a:cxnSpLocks/>
          </p:cNvCxnSpPr>
          <p:nvPr/>
        </p:nvCxnSpPr>
        <p:spPr>
          <a:xfrm>
            <a:off x="1637215" y="157103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9A92EDA-D8C3-4EB1-9758-7B12561BC979}"/>
              </a:ext>
            </a:extLst>
          </p:cNvPr>
          <p:cNvSpPr txBox="1"/>
          <p:nvPr/>
        </p:nvSpPr>
        <p:spPr>
          <a:xfrm>
            <a:off x="228000" y="6363777"/>
            <a:ext cx="117347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/>
              <a:t>Modelované hodnoty byly korigovány, aby odpovídaly celotýdenním hodnotám, včetně volných dnů. </a:t>
            </a:r>
            <a:br>
              <a:rPr lang="cs-CZ" sz="1100" dirty="0"/>
            </a:br>
            <a:r>
              <a:rPr lang="cs-CZ" sz="1100" dirty="0"/>
              <a:t>Hodnota celorepublikového modelu byla lokalizovaná do příslušného kraje se zohledněním trendu nárůstu ve dnech 23. 9. až 30. 9.</a:t>
            </a:r>
            <a:br>
              <a:rPr lang="cs-CZ" sz="1100" dirty="0"/>
            </a:br>
            <a:endParaRPr lang="cs-CZ" sz="1100" dirty="0"/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CD5909B-19B4-4D3D-B27B-037FC11A1EC3}"/>
              </a:ext>
            </a:extLst>
          </p:cNvPr>
          <p:cNvSpPr txBox="1"/>
          <p:nvPr/>
        </p:nvSpPr>
        <p:spPr>
          <a:xfrm>
            <a:off x="8033307" y="978567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r" fontAlgn="ctr"/>
            <a:r>
              <a:rPr lang="pt-BR" sz="1200" dirty="0">
                <a:solidFill>
                  <a:srgbClr val="FF0000"/>
                </a:solidFill>
                <a:latin typeface="Calibri" panose="020F0502020204030204" pitchFamily="34" charset="0"/>
              </a:rPr>
              <a:t>1 464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FFC000"/>
                </a:solidFill>
                <a:latin typeface="Calibri" panose="020F0502020204030204" pitchFamily="34" charset="0"/>
              </a:rPr>
              <a:t>877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70C0"/>
                </a:solidFill>
                <a:latin typeface="Calibri" panose="020F0502020204030204" pitchFamily="34" charset="0"/>
              </a:rPr>
              <a:t>493 na 100 tisíc</a:t>
            </a:r>
            <a:endParaRPr lang="cs-CZ" dirty="0">
              <a:latin typeface="Arial" panose="020B0604020202020204" pitchFamily="34" charset="0"/>
            </a:endParaRPr>
          </a:p>
          <a:p>
            <a:pPr algn="r" fontAlgn="ctr"/>
            <a:r>
              <a:rPr lang="cs-CZ" sz="1200" dirty="0">
                <a:solidFill>
                  <a:srgbClr val="00B050"/>
                </a:solidFill>
                <a:latin typeface="Calibri" panose="020F0502020204030204" pitchFamily="34" charset="0"/>
              </a:rPr>
              <a:t>267 na 100 tisíc</a:t>
            </a:r>
            <a:endParaRPr lang="cs-CZ" dirty="0">
              <a:latin typeface="Arial" panose="020B0604020202020204" pitchFamily="34" charset="0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D0A3E65-CC3F-40D5-96F9-29B1A68CBDE4}"/>
              </a:ext>
            </a:extLst>
          </p:cNvPr>
          <p:cNvSpPr txBox="1"/>
          <p:nvPr/>
        </p:nvSpPr>
        <p:spPr>
          <a:xfrm>
            <a:off x="7519225" y="624919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131325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53</TotalTime>
  <Words>4822</Words>
  <Application>Microsoft Office PowerPoint</Application>
  <PresentationFormat>Širokoúhlá obrazovka</PresentationFormat>
  <Paragraphs>669</Paragraphs>
  <Slides>3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35</vt:i4>
      </vt:variant>
    </vt:vector>
  </HeadingPairs>
  <TitlesOfParts>
    <vt:vector size="43" baseType="lpstr">
      <vt:lpstr>Arial</vt:lpstr>
      <vt:lpstr>Calibri</vt:lpstr>
      <vt:lpstr>Calibri Light</vt:lpstr>
      <vt:lpstr>Motiv Office</vt:lpstr>
      <vt:lpstr>1_Motiv systému Office</vt:lpstr>
      <vt:lpstr>1_Motiv Office</vt:lpstr>
      <vt:lpstr>2_Motiv Office</vt:lpstr>
      <vt:lpstr>5_Motiv Office</vt:lpstr>
      <vt:lpstr>Datová a informační základna  pro management pandemie COVID-19</vt:lpstr>
      <vt:lpstr>Stav a vývoj epidemie COVID-19  v dostupných datech</vt:lpstr>
      <vt:lpstr>Navržené scénáře krátkodobých modelů SIR  - projekce pro vývoj epidemie v říjnu</vt:lpstr>
      <vt:lpstr>Krátkodobá projekce ve čtyřech scénářích</vt:lpstr>
      <vt:lpstr>Rekalibrace prediktivního modelu pro nové scénáře</vt:lpstr>
      <vt:lpstr>7denní hodnoty na 100 tisíc obyvatel: krátkodobá projekce vývoje </vt:lpstr>
      <vt:lpstr>Stav a vývoj epidemie COVID-19  v dostupných datech</vt:lpstr>
      <vt:lpstr>Predikce ve čtyřech scénářích: Praha</vt:lpstr>
      <vt:lpstr>Modelové scénáře: 7denní hodnoty na 100 tisíc obyvatel: Praha</vt:lpstr>
      <vt:lpstr>Predikce ve čtyřech scénářích: Středočeský kraj</vt:lpstr>
      <vt:lpstr>Modelové scénáře: 7denní hodnoty na 100 tisíc obyvatel: Středočeský kraj</vt:lpstr>
      <vt:lpstr>Predikce ve čtyřech scénářích: Jihočeský kraj</vt:lpstr>
      <vt:lpstr>Modelové scénáře: 7denní hodnoty na 100 tisíc obyvatel: Jihočeský kraj</vt:lpstr>
      <vt:lpstr>Predikce ve čtyřech scénářích: Plzeňský kraj</vt:lpstr>
      <vt:lpstr>Modelové scénáře: 7denní hodnoty na 100 tisíc obyvatel: Plzeňský kraj</vt:lpstr>
      <vt:lpstr>Predikce ve čtyřech scénářích: Karlovarský kraj</vt:lpstr>
      <vt:lpstr>Modelové scénáře: 7denní hodnoty na 100 tisíc obyvatel: Karlovarský kraj</vt:lpstr>
      <vt:lpstr>Predikce ve čtyřech scénářích: Ústecký kraj</vt:lpstr>
      <vt:lpstr>Modelové scénáře: 7denní hodnoty na 100 tisíc obyvatel: Ústecký kraj</vt:lpstr>
      <vt:lpstr>Predikce ve čtyřech scénářích: Liberecký kraj</vt:lpstr>
      <vt:lpstr>Modelové scénáře: 7denní hodnoty na 100 tisíc obyvatel: Liberecký kraj</vt:lpstr>
      <vt:lpstr>Predikce ve čtyřech scénářích: Královehradecký kraj</vt:lpstr>
      <vt:lpstr>Modelové scénáře: 7denní hodnoty na 100 tisíc obyvatel: Královehradecký kraj</vt:lpstr>
      <vt:lpstr>Predikce ve čtyřech scénářích: Pardubický kraj</vt:lpstr>
      <vt:lpstr>Modelové scénáře: 7denní hodnoty na 100 tisíc obyvatel: Pardubický kraj</vt:lpstr>
      <vt:lpstr>Predikce ve čtyřech scénářích: Kraj Vysočina</vt:lpstr>
      <vt:lpstr>Modelové scénáře: 7denní hodnoty na 100 tisíc obyvatel: Kraj Vysočina</vt:lpstr>
      <vt:lpstr>Predikce ve čtyřech scénářích: Jihomoravský kraj</vt:lpstr>
      <vt:lpstr>Modelové scénáře: 7denní hodnoty na 100 tisíc obyvatel: Jihomoravský kraj</vt:lpstr>
      <vt:lpstr>Predikce ve čtyřech scénářích: Olomoucký kraj</vt:lpstr>
      <vt:lpstr>Modelové scénáře: 7denní hodnoty na 100 tisíc obyvatel: Olomoucký kraj</vt:lpstr>
      <vt:lpstr>Predikce ve čtyřech scénářích: Zlínský kraj</vt:lpstr>
      <vt:lpstr>Modelové scénáře: 7denní hodnoty na 100 tisíc obyvatel: Zlínský kraj</vt:lpstr>
      <vt:lpstr>Predikce ve čtyřech scénářích: Moravskoslezský kraj</vt:lpstr>
      <vt:lpstr>Modelové scénáře: 7denní hodnoty na 100 tisíc obyvatel: Moravskoslezský kraj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293</cp:revision>
  <dcterms:created xsi:type="dcterms:W3CDTF">2020-03-16T10:06:11Z</dcterms:created>
  <dcterms:modified xsi:type="dcterms:W3CDTF">2021-11-03T10:19:29Z</dcterms:modified>
</cp:coreProperties>
</file>